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mp" ContentType="image/p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0"/>
  </p:notesMasterIdLst>
  <p:handoutMasterIdLst>
    <p:handoutMasterId r:id="rId11"/>
  </p:handoutMasterIdLst>
  <p:sldIdLst>
    <p:sldId id="273" r:id="rId2"/>
    <p:sldId id="261" r:id="rId3"/>
    <p:sldId id="257" r:id="rId4"/>
    <p:sldId id="266" r:id="rId5"/>
    <p:sldId id="267" r:id="rId6"/>
    <p:sldId id="270" r:id="rId7"/>
    <p:sldId id="272" r:id="rId8"/>
    <p:sldId id="271" r:id="rId9"/>
  </p:sldIdLst>
  <p:sldSz cx="12192000" cy="6858000"/>
  <p:notesSz cx="6808788" cy="9940925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>
          <p15:clr>
            <a:srgbClr val="A4A3A4"/>
          </p15:clr>
        </p15:guide>
        <p15:guide id="2" pos="2144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arzyna Mąkólska" initials="KM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CC33"/>
    <a:srgbClr val="FFFFFF"/>
    <a:srgbClr val="F9F9F9"/>
    <a:srgbClr val="CCFFCC"/>
    <a:srgbClr val="EAEAEA"/>
    <a:srgbClr val="E2EFDA"/>
    <a:srgbClr val="248C24"/>
    <a:srgbClr val="1F7B1F"/>
    <a:srgbClr val="6EFF01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Styl pośredni 2 — Ak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269D01E-BC32-4049-B463-5C60D7B0CCD2}" styleName="Styl z motywem 2 — Ak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Styl z motywem 2 — Ak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8D230F3-CF80-4859-8CE7-A43EE81993B5}" styleName="Styl jasny 1 — Ak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3C2FFA5D-87B4-456A-9821-1D502468CF0F}" styleName="Styl z motywem 1 — Ak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926" autoAdjust="0"/>
    <p:restoredTop sz="94660" autoAdjust="0"/>
  </p:normalViewPr>
  <p:slideViewPr>
    <p:cSldViewPr snapToGrid="0">
      <p:cViewPr varScale="1">
        <p:scale>
          <a:sx n="62" d="100"/>
          <a:sy n="62" d="100"/>
        </p:scale>
        <p:origin x="72" y="23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2" d="100"/>
          <a:sy n="52" d="100"/>
        </p:scale>
        <p:origin x="-2970" y="-102"/>
      </p:cViewPr>
      <p:guideLst>
        <p:guide orient="horz" pos="3131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\\192.168.5.10\Udzialy\02.%20Klienci\2014-01-22%20OPZG\OPZG_2022\Konsensus%20Ekspert&#243;w\Dane\wyszczepialno&#347;&#263;%202011-202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4165230306610612E-2"/>
          <c:y val="6.2764425758898609E-2"/>
          <c:w val="0.93800076408884248"/>
          <c:h val="0.7963808758082197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Arkusz2!$C$2</c:f>
              <c:strCache>
                <c:ptCount val="1"/>
                <c:pt idx="0">
                  <c:v>B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dLbls>
            <c:dLbl>
              <c:idx val="13"/>
              <c:tx>
                <c:rich>
                  <a:bodyPr/>
                  <a:lstStyle/>
                  <a:p>
                    <a:r>
                      <a:rPr lang="en-US" dirty="0"/>
                      <a:t>8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9008-4383-9E64-55E5D29FE9CA}"/>
                </c:ext>
              </c:extLst>
            </c:dLbl>
            <c:dLbl>
              <c:idx val="14"/>
              <c:tx>
                <c:rich>
                  <a:bodyPr/>
                  <a:lstStyle/>
                  <a:p>
                    <a:r>
                      <a:rPr lang="en-US" dirty="0"/>
                      <a:t>24,2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5B69-4C10-9C91-A582486AF9DB}"/>
                </c:ext>
              </c:extLst>
            </c:dLbl>
            <c:spPr>
              <a:solidFill>
                <a:srgbClr val="FF0000"/>
              </a:solidFill>
              <a:ln w="28575">
                <a:solidFill>
                  <a:srgbClr val="FFFFFF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bg1"/>
                    </a:solidFill>
                    <a:latin typeface="Calibri" panose="020F0502020204030204" pitchFamily="34" charset="0"/>
                    <a:ea typeface="+mn-ea"/>
                    <a:cs typeface="Calibri" panose="020F0502020204030204" pitchFamily="34" charset="0"/>
                  </a:defRPr>
                </a:pPr>
                <a:endParaRPr lang="pl-PL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2!$B$3:$B$17</c:f>
              <c:strCache>
                <c:ptCount val="15"/>
                <c:pt idx="0">
                  <c:v>2008/2009</c:v>
                </c:pt>
                <c:pt idx="1">
                  <c:v>2009/2010</c:v>
                </c:pt>
                <c:pt idx="2">
                  <c:v>2010/2011</c:v>
                </c:pt>
                <c:pt idx="3">
                  <c:v>2011/2012</c:v>
                </c:pt>
                <c:pt idx="4">
                  <c:v>2012/2013</c:v>
                </c:pt>
                <c:pt idx="5">
                  <c:v>2013/2014</c:v>
                </c:pt>
                <c:pt idx="6">
                  <c:v>2014/2015</c:v>
                </c:pt>
                <c:pt idx="7">
                  <c:v>2015/2016</c:v>
                </c:pt>
                <c:pt idx="8">
                  <c:v>2016/2017</c:v>
                </c:pt>
                <c:pt idx="9">
                  <c:v>2017/2018</c:v>
                </c:pt>
                <c:pt idx="10">
                  <c:v>2018/2019</c:v>
                </c:pt>
                <c:pt idx="11">
                  <c:v>2019/2020</c:v>
                </c:pt>
                <c:pt idx="12">
                  <c:v>2020/2021</c:v>
                </c:pt>
                <c:pt idx="13">
                  <c:v>2021/2022</c:v>
                </c:pt>
                <c:pt idx="14">
                  <c:v>2022/2023</c:v>
                </c:pt>
              </c:strCache>
            </c:strRef>
          </c:cat>
          <c:val>
            <c:numRef>
              <c:f>Arkusz2!$C$3:$C$17</c:f>
              <c:numCache>
                <c:formatCode>0.00%</c:formatCode>
                <c:ptCount val="15"/>
                <c:pt idx="0">
                  <c:v>0.31900000000000001</c:v>
                </c:pt>
                <c:pt idx="1">
                  <c:v>3.3000000000000002E-2</c:v>
                </c:pt>
                <c:pt idx="2">
                  <c:v>0.39700000000000002</c:v>
                </c:pt>
                <c:pt idx="3">
                  <c:v>0.26900000000000002</c:v>
                </c:pt>
                <c:pt idx="4">
                  <c:v>0.20799999999999999</c:v>
                </c:pt>
                <c:pt idx="5">
                  <c:v>3.5000000000000003E-2</c:v>
                </c:pt>
                <c:pt idx="6">
                  <c:v>0.48599999999999999</c:v>
                </c:pt>
                <c:pt idx="7">
                  <c:v>0.50900000000000001</c:v>
                </c:pt>
                <c:pt idx="8" formatCode="0%">
                  <c:v>0.01</c:v>
                </c:pt>
                <c:pt idx="9">
                  <c:v>0.70699999999999996</c:v>
                </c:pt>
                <c:pt idx="10">
                  <c:v>1.0999999999999999E-2</c:v>
                </c:pt>
                <c:pt idx="11">
                  <c:v>0.05</c:v>
                </c:pt>
                <c:pt idx="12">
                  <c:v>1</c:v>
                </c:pt>
                <c:pt idx="13" formatCode="0%">
                  <c:v>0.08</c:v>
                </c:pt>
                <c:pt idx="14">
                  <c:v>0.241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18-4EC2-BAA1-F7060A4357BB}"/>
            </c:ext>
          </c:extLst>
        </c:ser>
        <c:ser>
          <c:idx val="1"/>
          <c:order val="1"/>
          <c:tx>
            <c:strRef>
              <c:f>Arkusz2!$D$2</c:f>
              <c:strCache>
                <c:ptCount val="1"/>
                <c:pt idx="0">
                  <c:v>A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Arkusz2!$B$3:$B$17</c:f>
              <c:strCache>
                <c:ptCount val="15"/>
                <c:pt idx="0">
                  <c:v>2008/2009</c:v>
                </c:pt>
                <c:pt idx="1">
                  <c:v>2009/2010</c:v>
                </c:pt>
                <c:pt idx="2">
                  <c:v>2010/2011</c:v>
                </c:pt>
                <c:pt idx="3">
                  <c:v>2011/2012</c:v>
                </c:pt>
                <c:pt idx="4">
                  <c:v>2012/2013</c:v>
                </c:pt>
                <c:pt idx="5">
                  <c:v>2013/2014</c:v>
                </c:pt>
                <c:pt idx="6">
                  <c:v>2014/2015</c:v>
                </c:pt>
                <c:pt idx="7">
                  <c:v>2015/2016</c:v>
                </c:pt>
                <c:pt idx="8">
                  <c:v>2016/2017</c:v>
                </c:pt>
                <c:pt idx="9">
                  <c:v>2017/2018</c:v>
                </c:pt>
                <c:pt idx="10">
                  <c:v>2018/2019</c:v>
                </c:pt>
                <c:pt idx="11">
                  <c:v>2019/2020</c:v>
                </c:pt>
                <c:pt idx="12">
                  <c:v>2020/2021</c:v>
                </c:pt>
                <c:pt idx="13">
                  <c:v>2021/2022</c:v>
                </c:pt>
                <c:pt idx="14">
                  <c:v>2022/2023</c:v>
                </c:pt>
              </c:strCache>
            </c:strRef>
          </c:cat>
          <c:val>
            <c:numRef>
              <c:f>Arkusz2!$D$3:$D$17</c:f>
              <c:numCache>
                <c:formatCode>0.00%</c:formatCode>
                <c:ptCount val="15"/>
                <c:pt idx="0">
                  <c:v>0.54</c:v>
                </c:pt>
                <c:pt idx="1">
                  <c:v>0.14000000000000001</c:v>
                </c:pt>
                <c:pt idx="2">
                  <c:v>8.6999999999999994E-2</c:v>
                </c:pt>
                <c:pt idx="3">
                  <c:v>0.69199999999999995</c:v>
                </c:pt>
                <c:pt idx="4">
                  <c:v>0.28000000000000003</c:v>
                </c:pt>
                <c:pt idx="5">
                  <c:v>0.75600000000000001</c:v>
                </c:pt>
                <c:pt idx="6">
                  <c:v>0.35599999999999998</c:v>
                </c:pt>
                <c:pt idx="7">
                  <c:v>6.7000000000000004E-2</c:v>
                </c:pt>
                <c:pt idx="8" formatCode="0%">
                  <c:v>0.71</c:v>
                </c:pt>
                <c:pt idx="9">
                  <c:v>0.218</c:v>
                </c:pt>
                <c:pt idx="10">
                  <c:v>0.17100000000000001</c:v>
                </c:pt>
                <c:pt idx="11">
                  <c:v>0.67799999999999994</c:v>
                </c:pt>
                <c:pt idx="12" formatCode="0%">
                  <c:v>0</c:v>
                </c:pt>
                <c:pt idx="13">
                  <c:v>0.81399999999999995</c:v>
                </c:pt>
                <c:pt idx="14">
                  <c:v>0.537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E18-4EC2-BAA1-F7060A4357BB}"/>
            </c:ext>
          </c:extLst>
        </c:ser>
        <c:ser>
          <c:idx val="2"/>
          <c:order val="2"/>
          <c:tx>
            <c:strRef>
              <c:f>Arkusz2!$E$2</c:f>
              <c:strCache>
                <c:ptCount val="1"/>
                <c:pt idx="0">
                  <c:v>A/H1N1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Arkusz2!$B$3:$B$17</c:f>
              <c:strCache>
                <c:ptCount val="15"/>
                <c:pt idx="0">
                  <c:v>2008/2009</c:v>
                </c:pt>
                <c:pt idx="1">
                  <c:v>2009/2010</c:v>
                </c:pt>
                <c:pt idx="2">
                  <c:v>2010/2011</c:v>
                </c:pt>
                <c:pt idx="3">
                  <c:v>2011/2012</c:v>
                </c:pt>
                <c:pt idx="4">
                  <c:v>2012/2013</c:v>
                </c:pt>
                <c:pt idx="5">
                  <c:v>2013/2014</c:v>
                </c:pt>
                <c:pt idx="6">
                  <c:v>2014/2015</c:v>
                </c:pt>
                <c:pt idx="7">
                  <c:v>2015/2016</c:v>
                </c:pt>
                <c:pt idx="8">
                  <c:v>2016/2017</c:v>
                </c:pt>
                <c:pt idx="9">
                  <c:v>2017/2018</c:v>
                </c:pt>
                <c:pt idx="10">
                  <c:v>2018/2019</c:v>
                </c:pt>
                <c:pt idx="11">
                  <c:v>2019/2020</c:v>
                </c:pt>
                <c:pt idx="12">
                  <c:v>2020/2021</c:v>
                </c:pt>
                <c:pt idx="13">
                  <c:v>2021/2022</c:v>
                </c:pt>
                <c:pt idx="14">
                  <c:v>2022/2023</c:v>
                </c:pt>
              </c:strCache>
            </c:strRef>
          </c:cat>
          <c:val>
            <c:numRef>
              <c:f>Arkusz2!$E$3:$E$17</c:f>
              <c:numCache>
                <c:formatCode>0.00%</c:formatCode>
                <c:ptCount val="15"/>
                <c:pt idx="0">
                  <c:v>2.7E-2</c:v>
                </c:pt>
                <c:pt idx="1">
                  <c:v>0.82699999999999996</c:v>
                </c:pt>
                <c:pt idx="2">
                  <c:v>0.51600000000000001</c:v>
                </c:pt>
                <c:pt idx="3">
                  <c:v>0</c:v>
                </c:pt>
                <c:pt idx="4">
                  <c:v>0.47099999999999997</c:v>
                </c:pt>
                <c:pt idx="5">
                  <c:v>0.105</c:v>
                </c:pt>
                <c:pt idx="6">
                  <c:v>8.1000000000000003E-2</c:v>
                </c:pt>
                <c:pt idx="7">
                  <c:v>0.42199999999999999</c:v>
                </c:pt>
                <c:pt idx="8" formatCode="0%">
                  <c:v>0</c:v>
                </c:pt>
                <c:pt idx="9">
                  <c:v>6.4000000000000001E-2</c:v>
                </c:pt>
                <c:pt idx="10">
                  <c:v>0.71499999999999997</c:v>
                </c:pt>
                <c:pt idx="11">
                  <c:v>0.192</c:v>
                </c:pt>
                <c:pt idx="12" formatCode="0%">
                  <c:v>0</c:v>
                </c:pt>
                <c:pt idx="13" formatCode="0%">
                  <c:v>0</c:v>
                </c:pt>
                <c:pt idx="14">
                  <c:v>9.90000000000000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E18-4EC2-BAA1-F7060A4357BB}"/>
            </c:ext>
          </c:extLst>
        </c:ser>
        <c:ser>
          <c:idx val="3"/>
          <c:order val="3"/>
          <c:tx>
            <c:strRef>
              <c:f>Arkusz2!$F$2</c:f>
              <c:strCache>
                <c:ptCount val="1"/>
                <c:pt idx="0">
                  <c:v>A/H3N2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Arkusz2!$B$3:$B$17</c:f>
              <c:strCache>
                <c:ptCount val="15"/>
                <c:pt idx="0">
                  <c:v>2008/2009</c:v>
                </c:pt>
                <c:pt idx="1">
                  <c:v>2009/2010</c:v>
                </c:pt>
                <c:pt idx="2">
                  <c:v>2010/2011</c:v>
                </c:pt>
                <c:pt idx="3">
                  <c:v>2011/2012</c:v>
                </c:pt>
                <c:pt idx="4">
                  <c:v>2012/2013</c:v>
                </c:pt>
                <c:pt idx="5">
                  <c:v>2013/2014</c:v>
                </c:pt>
                <c:pt idx="6">
                  <c:v>2014/2015</c:v>
                </c:pt>
                <c:pt idx="7">
                  <c:v>2015/2016</c:v>
                </c:pt>
                <c:pt idx="8">
                  <c:v>2016/2017</c:v>
                </c:pt>
                <c:pt idx="9">
                  <c:v>2017/2018</c:v>
                </c:pt>
                <c:pt idx="10">
                  <c:v>2018/2019</c:v>
                </c:pt>
                <c:pt idx="11">
                  <c:v>2019/2020</c:v>
                </c:pt>
                <c:pt idx="12">
                  <c:v>2020/2021</c:v>
                </c:pt>
                <c:pt idx="13">
                  <c:v>2021/2022</c:v>
                </c:pt>
                <c:pt idx="14">
                  <c:v>2022/2023</c:v>
                </c:pt>
              </c:strCache>
            </c:strRef>
          </c:cat>
          <c:val>
            <c:numRef>
              <c:f>Arkusz2!$F$3:$F$17</c:f>
              <c:numCache>
                <c:formatCode>0.00%</c:formatCode>
                <c:ptCount val="15"/>
                <c:pt idx="0">
                  <c:v>0.115</c:v>
                </c:pt>
                <c:pt idx="1">
                  <c:v>0</c:v>
                </c:pt>
                <c:pt idx="2">
                  <c:v>0</c:v>
                </c:pt>
                <c:pt idx="3">
                  <c:v>3.7999999999999999E-2</c:v>
                </c:pt>
                <c:pt idx="4">
                  <c:v>4.1000000000000002E-2</c:v>
                </c:pt>
                <c:pt idx="5">
                  <c:v>0.105</c:v>
                </c:pt>
                <c:pt idx="6">
                  <c:v>7.6999999999999999E-2</c:v>
                </c:pt>
                <c:pt idx="7">
                  <c:v>3.0000000000000001E-3</c:v>
                </c:pt>
                <c:pt idx="8" formatCode="0%">
                  <c:v>0.28000000000000003</c:v>
                </c:pt>
                <c:pt idx="9" formatCode="0%">
                  <c:v>0.01</c:v>
                </c:pt>
                <c:pt idx="10">
                  <c:v>4.2999999999999997E-2</c:v>
                </c:pt>
                <c:pt idx="11">
                  <c:v>0.08</c:v>
                </c:pt>
                <c:pt idx="12" formatCode="0%">
                  <c:v>0</c:v>
                </c:pt>
                <c:pt idx="13">
                  <c:v>0.106</c:v>
                </c:pt>
                <c:pt idx="14">
                  <c:v>0.1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E18-4EC2-BAA1-F7060A4357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95041800"/>
        <c:axId val="295042976"/>
      </c:barChart>
      <c:catAx>
        <c:axId val="2950418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rgbClr val="00206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pl-PL"/>
          </a:p>
        </c:txPr>
        <c:crossAx val="295042976"/>
        <c:crosses val="autoZero"/>
        <c:auto val="1"/>
        <c:lblAlgn val="ctr"/>
        <c:lblOffset val="100"/>
        <c:noMultiLvlLbl val="0"/>
      </c:catAx>
      <c:valAx>
        <c:axId val="29504297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rgbClr val="002060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pl-PL"/>
          </a:p>
        </c:txPr>
        <c:crossAx val="2950418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582785046781218"/>
          <c:y val="0.92119048106675405"/>
          <c:w val="0.41360133205295624"/>
          <c:h val="7.812554680664918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rgbClr val="002060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pl-PL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4"/>
              <c:layout>
                <c:manualLayout>
                  <c:x val="0"/>
                  <c:y val="-0.3052371721621415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658-4F23-99A7-2CC9337144D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J$70:$J$75</c:f>
              <c:strCache>
                <c:ptCount val="6"/>
                <c:pt idx="0">
                  <c:v>2017/2018</c:v>
                </c:pt>
                <c:pt idx="1">
                  <c:v>2018/2019</c:v>
                </c:pt>
                <c:pt idx="2">
                  <c:v>2019/2020</c:v>
                </c:pt>
                <c:pt idx="3">
                  <c:v>2020/2021</c:v>
                </c:pt>
                <c:pt idx="4">
                  <c:v>2021/2022</c:v>
                </c:pt>
                <c:pt idx="5">
                  <c:v>2022/2023</c:v>
                </c:pt>
              </c:strCache>
            </c:strRef>
          </c:cat>
          <c:val>
            <c:numRef>
              <c:f>Arkusz1!$K$70:$K$75</c:f>
              <c:numCache>
                <c:formatCode>#,##0</c:formatCode>
                <c:ptCount val="6"/>
                <c:pt idx="0">
                  <c:v>1399.288</c:v>
                </c:pt>
                <c:pt idx="1">
                  <c:v>1498.5039999999999</c:v>
                </c:pt>
                <c:pt idx="2">
                  <c:v>1581.7850000000001</c:v>
                </c:pt>
                <c:pt idx="3">
                  <c:v>2300</c:v>
                </c:pt>
                <c:pt idx="4">
                  <c:v>26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A5B-4FA2-997F-75ED42E0E4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95041016"/>
        <c:axId val="295044544"/>
      </c:barChart>
      <c:catAx>
        <c:axId val="2950410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295044544"/>
        <c:crosses val="autoZero"/>
        <c:auto val="1"/>
        <c:lblAlgn val="ctr"/>
        <c:lblOffset val="100"/>
        <c:noMultiLvlLbl val="0"/>
      </c:catAx>
      <c:valAx>
        <c:axId val="2950445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295041016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l-P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4627649724354086E-2"/>
          <c:y val="6.6492642699122098E-2"/>
          <c:w val="0.90396867589003604"/>
          <c:h val="0.81655969196624245"/>
        </c:manualLayout>
      </c:layout>
      <c:barChart>
        <c:barDir val="col"/>
        <c:grouping val="clustered"/>
        <c:varyColors val="0"/>
        <c:ser>
          <c:idx val="4"/>
          <c:order val="4"/>
          <c:tx>
            <c:strRef>
              <c:f>Arkusz1!$F$1</c:f>
              <c:strCache>
                <c:ptCount val="1"/>
                <c:pt idx="0">
                  <c:v>OGÓŁEM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12</c:f>
              <c:strCache>
                <c:ptCount val="11"/>
                <c:pt idx="0">
                  <c:v>2011/2012</c:v>
                </c:pt>
                <c:pt idx="1">
                  <c:v>2012/2013</c:v>
                </c:pt>
                <c:pt idx="2">
                  <c:v>2013/2014</c:v>
                </c:pt>
                <c:pt idx="3">
                  <c:v>2014/2015</c:v>
                </c:pt>
                <c:pt idx="4">
                  <c:v>2015/2016</c:v>
                </c:pt>
                <c:pt idx="5">
                  <c:v>2016/2017</c:v>
                </c:pt>
                <c:pt idx="6">
                  <c:v>2017/2018</c:v>
                </c:pt>
                <c:pt idx="7">
                  <c:v>2018/2019</c:v>
                </c:pt>
                <c:pt idx="8">
                  <c:v>2019/2020</c:v>
                </c:pt>
                <c:pt idx="9">
                  <c:v>2020/2021</c:v>
                </c:pt>
                <c:pt idx="10">
                  <c:v>2021/2022</c:v>
                </c:pt>
              </c:strCache>
            </c:strRef>
          </c:cat>
          <c:val>
            <c:numRef>
              <c:f>Arkusz1!$F$2:$F$12</c:f>
              <c:numCache>
                <c:formatCode>0.0%</c:formatCode>
                <c:ptCount val="11"/>
                <c:pt idx="0">
                  <c:v>4.48E-2</c:v>
                </c:pt>
                <c:pt idx="1">
                  <c:v>3.6600000000000001E-2</c:v>
                </c:pt>
                <c:pt idx="2">
                  <c:v>3.6900000000000002E-2</c:v>
                </c:pt>
                <c:pt idx="3">
                  <c:v>3.6999999999999998E-2</c:v>
                </c:pt>
                <c:pt idx="4">
                  <c:v>3.2599999999999997E-2</c:v>
                </c:pt>
                <c:pt idx="5">
                  <c:v>3.2599999999999997E-2</c:v>
                </c:pt>
                <c:pt idx="6">
                  <c:v>3.6400000000000002E-2</c:v>
                </c:pt>
                <c:pt idx="7">
                  <c:v>3.9E-2</c:v>
                </c:pt>
                <c:pt idx="8">
                  <c:v>4.1200000000000001E-2</c:v>
                </c:pt>
                <c:pt idx="9">
                  <c:v>6.0299999999999999E-2</c:v>
                </c:pt>
                <c:pt idx="10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31C-4A30-AE82-BC558EA0146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axId val="295037488"/>
        <c:axId val="295039448"/>
      </c:barChart>
      <c:lineChart>
        <c:grouping val="standard"/>
        <c:varyColors val="0"/>
        <c:ser>
          <c:idx val="1"/>
          <c:order val="1"/>
          <c:tx>
            <c:strRef>
              <c:f>Arkusz1!$C$1</c:f>
              <c:strCache>
                <c:ptCount val="1"/>
                <c:pt idx="0">
                  <c:v>5-14.</c:v>
                </c:pt>
              </c:strCache>
            </c:strRef>
          </c:tx>
          <c:spPr>
            <a:ln w="28575" cap="rnd">
              <a:solidFill>
                <a:schemeClr val="accent1">
                  <a:alpha val="96000"/>
                </a:schemeClr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strRef>
              <c:f>Arkusz1!$A$2:$A$12</c:f>
              <c:strCache>
                <c:ptCount val="11"/>
                <c:pt idx="0">
                  <c:v>2011/2012</c:v>
                </c:pt>
                <c:pt idx="1">
                  <c:v>2012/2013</c:v>
                </c:pt>
                <c:pt idx="2">
                  <c:v>2013/2014</c:v>
                </c:pt>
                <c:pt idx="3">
                  <c:v>2014/2015</c:v>
                </c:pt>
                <c:pt idx="4">
                  <c:v>2015/2016</c:v>
                </c:pt>
                <c:pt idx="5">
                  <c:v>2016/2017</c:v>
                </c:pt>
                <c:pt idx="6">
                  <c:v>2017/2018</c:v>
                </c:pt>
                <c:pt idx="7">
                  <c:v>2018/2019</c:v>
                </c:pt>
                <c:pt idx="8">
                  <c:v>2019/2020</c:v>
                </c:pt>
                <c:pt idx="9">
                  <c:v>2020/2021</c:v>
                </c:pt>
                <c:pt idx="10">
                  <c:v>2021/2022</c:v>
                </c:pt>
              </c:strCache>
            </c:strRef>
          </c:cat>
          <c:val>
            <c:numRef>
              <c:f>Arkusz1!$C$2:$C$12</c:f>
              <c:numCache>
                <c:formatCode>0.0%</c:formatCode>
                <c:ptCount val="11"/>
                <c:pt idx="0">
                  <c:v>2.4500000000000001E-2</c:v>
                </c:pt>
                <c:pt idx="1">
                  <c:v>1.7899999999999999E-2</c:v>
                </c:pt>
                <c:pt idx="2">
                  <c:v>1.67E-2</c:v>
                </c:pt>
                <c:pt idx="3">
                  <c:v>1.5599999999999999E-2</c:v>
                </c:pt>
                <c:pt idx="4">
                  <c:v>1.3100000000000001E-2</c:v>
                </c:pt>
                <c:pt idx="5">
                  <c:v>1.3100000000000001E-2</c:v>
                </c:pt>
                <c:pt idx="6">
                  <c:v>1.2999999999999999E-2</c:v>
                </c:pt>
                <c:pt idx="7">
                  <c:v>1.3899999999999999E-2</c:v>
                </c:pt>
                <c:pt idx="8">
                  <c:v>1.38E-2</c:v>
                </c:pt>
                <c:pt idx="9">
                  <c:v>2.3099999999999999E-2</c:v>
                </c:pt>
                <c:pt idx="10">
                  <c:v>2.23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E31C-4A30-AE82-BC558EA0146F}"/>
            </c:ext>
          </c:extLst>
        </c:ser>
        <c:ser>
          <c:idx val="2"/>
          <c:order val="2"/>
          <c:tx>
            <c:strRef>
              <c:f>Arkusz1!$D$1</c:f>
              <c:strCache>
                <c:ptCount val="1"/>
                <c:pt idx="0">
                  <c:v>15-64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elete val="1"/>
          </c:dLbls>
          <c:cat>
            <c:strRef>
              <c:f>Arkusz1!$A$2:$A$12</c:f>
              <c:strCache>
                <c:ptCount val="11"/>
                <c:pt idx="0">
                  <c:v>2011/2012</c:v>
                </c:pt>
                <c:pt idx="1">
                  <c:v>2012/2013</c:v>
                </c:pt>
                <c:pt idx="2">
                  <c:v>2013/2014</c:v>
                </c:pt>
                <c:pt idx="3">
                  <c:v>2014/2015</c:v>
                </c:pt>
                <c:pt idx="4">
                  <c:v>2015/2016</c:v>
                </c:pt>
                <c:pt idx="5">
                  <c:v>2016/2017</c:v>
                </c:pt>
                <c:pt idx="6">
                  <c:v>2017/2018</c:v>
                </c:pt>
                <c:pt idx="7">
                  <c:v>2018/2019</c:v>
                </c:pt>
                <c:pt idx="8">
                  <c:v>2019/2020</c:v>
                </c:pt>
                <c:pt idx="9">
                  <c:v>2020/2021</c:v>
                </c:pt>
                <c:pt idx="10">
                  <c:v>2021/2022</c:v>
                </c:pt>
              </c:strCache>
            </c:strRef>
          </c:cat>
          <c:val>
            <c:numRef>
              <c:f>Arkusz1!$D$2:$D$12</c:f>
              <c:numCache>
                <c:formatCode>0.0%</c:formatCode>
                <c:ptCount val="11"/>
                <c:pt idx="0">
                  <c:v>3.1399999999999997E-2</c:v>
                </c:pt>
                <c:pt idx="1">
                  <c:v>2.4299999999999999E-2</c:v>
                </c:pt>
                <c:pt idx="2">
                  <c:v>2.53E-2</c:v>
                </c:pt>
                <c:pt idx="3">
                  <c:v>2.46E-2</c:v>
                </c:pt>
                <c:pt idx="4">
                  <c:v>1.77E-2</c:v>
                </c:pt>
                <c:pt idx="5">
                  <c:v>1.77E-2</c:v>
                </c:pt>
                <c:pt idx="6">
                  <c:v>1.8599999999999998E-2</c:v>
                </c:pt>
                <c:pt idx="7">
                  <c:v>1.84E-2</c:v>
                </c:pt>
                <c:pt idx="8">
                  <c:v>1.7999999999999999E-2</c:v>
                </c:pt>
                <c:pt idx="9">
                  <c:v>3.4700000000000002E-2</c:v>
                </c:pt>
                <c:pt idx="10">
                  <c:v>6.579999999999999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E31C-4A30-AE82-BC558EA0146F}"/>
            </c:ext>
          </c:extLst>
        </c:ser>
        <c:ser>
          <c:idx val="3"/>
          <c:order val="3"/>
          <c:tx>
            <c:strRef>
              <c:f>Arkusz1!$E$1</c:f>
              <c:strCache>
                <c:ptCount val="1"/>
                <c:pt idx="0">
                  <c:v>65+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l-P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rkusz1!$A$2:$A$12</c:f>
              <c:strCache>
                <c:ptCount val="11"/>
                <c:pt idx="0">
                  <c:v>2011/2012</c:v>
                </c:pt>
                <c:pt idx="1">
                  <c:v>2012/2013</c:v>
                </c:pt>
                <c:pt idx="2">
                  <c:v>2013/2014</c:v>
                </c:pt>
                <c:pt idx="3">
                  <c:v>2014/2015</c:v>
                </c:pt>
                <c:pt idx="4">
                  <c:v>2015/2016</c:v>
                </c:pt>
                <c:pt idx="5">
                  <c:v>2016/2017</c:v>
                </c:pt>
                <c:pt idx="6">
                  <c:v>2017/2018</c:v>
                </c:pt>
                <c:pt idx="7">
                  <c:v>2018/2019</c:v>
                </c:pt>
                <c:pt idx="8">
                  <c:v>2019/2020</c:v>
                </c:pt>
                <c:pt idx="9">
                  <c:v>2020/2021</c:v>
                </c:pt>
                <c:pt idx="10">
                  <c:v>2021/2022</c:v>
                </c:pt>
              </c:strCache>
            </c:strRef>
          </c:cat>
          <c:val>
            <c:numRef>
              <c:f>Arkusz1!$E$2:$E$12</c:f>
              <c:numCache>
                <c:formatCode>0.0%</c:formatCode>
                <c:ptCount val="11"/>
                <c:pt idx="0">
                  <c:v>0.14199999999999999</c:v>
                </c:pt>
                <c:pt idx="1">
                  <c:v>0.125</c:v>
                </c:pt>
                <c:pt idx="2">
                  <c:v>0.115</c:v>
                </c:pt>
                <c:pt idx="3">
                  <c:v>0.11700000000000001</c:v>
                </c:pt>
                <c:pt idx="4">
                  <c:v>0.114</c:v>
                </c:pt>
                <c:pt idx="5">
                  <c:v>0.114</c:v>
                </c:pt>
                <c:pt idx="6">
                  <c:v>0.13</c:v>
                </c:pt>
                <c:pt idx="7">
                  <c:v>0.14199999999999999</c:v>
                </c:pt>
                <c:pt idx="8">
                  <c:v>0.151</c:v>
                </c:pt>
                <c:pt idx="9">
                  <c:v>0.184</c:v>
                </c:pt>
                <c:pt idx="10">
                  <c:v>0.2293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E31C-4A30-AE82-BC558EA0146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95037488"/>
        <c:axId val="295039448"/>
      </c:lineChart>
      <c:lineChart>
        <c:grouping val="standard"/>
        <c:varyColors val="0"/>
        <c:ser>
          <c:idx val="0"/>
          <c:order val="0"/>
          <c:tx>
            <c:strRef>
              <c:f>Arkusz1!$B$1</c:f>
              <c:strCache>
                <c:ptCount val="1"/>
                <c:pt idx="0">
                  <c:v>0-4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Arkusz1!$A$2:$A$12</c:f>
              <c:strCache>
                <c:ptCount val="11"/>
                <c:pt idx="0">
                  <c:v>2011/2012</c:v>
                </c:pt>
                <c:pt idx="1">
                  <c:v>2012/2013</c:v>
                </c:pt>
                <c:pt idx="2">
                  <c:v>2013/2014</c:v>
                </c:pt>
                <c:pt idx="3">
                  <c:v>2014/2015</c:v>
                </c:pt>
                <c:pt idx="4">
                  <c:v>2015/2016</c:v>
                </c:pt>
                <c:pt idx="5">
                  <c:v>2016/2017</c:v>
                </c:pt>
                <c:pt idx="6">
                  <c:v>2017/2018</c:v>
                </c:pt>
                <c:pt idx="7">
                  <c:v>2018/2019</c:v>
                </c:pt>
                <c:pt idx="8">
                  <c:v>2019/2020</c:v>
                </c:pt>
                <c:pt idx="9">
                  <c:v>2020/2021</c:v>
                </c:pt>
                <c:pt idx="10">
                  <c:v>2021/2022</c:v>
                </c:pt>
              </c:strCache>
            </c:strRef>
          </c:cat>
          <c:val>
            <c:numRef>
              <c:f>Arkusz1!$B$2:$B$12</c:f>
              <c:numCache>
                <c:formatCode>0.0%</c:formatCode>
                <c:ptCount val="11"/>
                <c:pt idx="0">
                  <c:v>1.4200000000000001E-2</c:v>
                </c:pt>
                <c:pt idx="1">
                  <c:v>1.01E-2</c:v>
                </c:pt>
                <c:pt idx="2">
                  <c:v>1.0200000000000001E-2</c:v>
                </c:pt>
                <c:pt idx="3">
                  <c:v>8.8999999999999999E-3</c:v>
                </c:pt>
                <c:pt idx="4">
                  <c:v>7.3000000000000001E-3</c:v>
                </c:pt>
                <c:pt idx="5">
                  <c:v>7.4000000000000003E-3</c:v>
                </c:pt>
                <c:pt idx="6">
                  <c:v>7.6E-3</c:v>
                </c:pt>
                <c:pt idx="7">
                  <c:v>8.3000000000000001E-3</c:v>
                </c:pt>
                <c:pt idx="8">
                  <c:v>1.0500000000000001E-2</c:v>
                </c:pt>
                <c:pt idx="9">
                  <c:v>1.9900000000000001E-2</c:v>
                </c:pt>
                <c:pt idx="10">
                  <c:v>2.4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31C-4A30-AE82-BC558EA014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95037880"/>
        <c:axId val="295043368"/>
      </c:lineChart>
      <c:catAx>
        <c:axId val="2950374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295039448"/>
        <c:crosses val="autoZero"/>
        <c:auto val="1"/>
        <c:lblAlgn val="ctr"/>
        <c:lblOffset val="100"/>
        <c:noMultiLvlLbl val="0"/>
      </c:catAx>
      <c:valAx>
        <c:axId val="29503944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l-PL"/>
          </a:p>
        </c:txPr>
        <c:crossAx val="295037488"/>
        <c:crosses val="autoZero"/>
        <c:crossBetween val="between"/>
      </c:valAx>
      <c:valAx>
        <c:axId val="295043368"/>
        <c:scaling>
          <c:orientation val="minMax"/>
        </c:scaling>
        <c:delete val="1"/>
        <c:axPos val="r"/>
        <c:numFmt formatCode="0.0%" sourceLinked="1"/>
        <c:majorTickMark val="out"/>
        <c:minorTickMark val="none"/>
        <c:tickLblPos val="nextTo"/>
        <c:crossAx val="295037880"/>
        <c:crosses val="max"/>
        <c:crossBetween val="between"/>
      </c:valAx>
      <c:catAx>
        <c:axId val="295037880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295043368"/>
        <c:crosses val="max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solidFill>
            <a:schemeClr val="accent4">
              <a:lumMod val="60000"/>
              <a:lumOff val="40000"/>
            </a:schemeClr>
          </a:solidFill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l-P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pl-PL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sz="quarter" idx="1"/>
          </p:nvPr>
        </p:nvSpPr>
        <p:spPr>
          <a:xfrm>
            <a:off x="3856738" y="1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359757-BFA8-4F93-B9B0-125E57CAA016}" type="datetimeFigureOut">
              <a:rPr lang="pl-PL" smtClean="0"/>
              <a:pPr/>
              <a:t>25.04.2023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2"/>
          </p:nvPr>
        </p:nvSpPr>
        <p:spPr>
          <a:xfrm>
            <a:off x="1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3"/>
          </p:nvPr>
        </p:nvSpPr>
        <p:spPr>
          <a:xfrm>
            <a:off x="3856738" y="9442154"/>
            <a:ext cx="2950475" cy="4970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9B153E-DD06-44D3-BA08-BB0593FCA2CB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436479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50982" cy="49600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56719" y="1"/>
            <a:ext cx="2950982" cy="49600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E6ECEA-B30A-49FE-B00D-AB69B50987EE}" type="datetimeFigureOut">
              <a:rPr lang="pl-PL" smtClean="0"/>
              <a:pPr/>
              <a:t>25.04.2023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4638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80662" y="4721303"/>
            <a:ext cx="5447465" cy="44733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42604"/>
            <a:ext cx="2950982" cy="4960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56719" y="9442604"/>
            <a:ext cx="2950982" cy="4960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490C81-84BB-439C-9116-12D4423BD367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0237217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90488" y="746125"/>
            <a:ext cx="6627812" cy="3727450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61EBF4-AC43-4EAF-8B87-7F68C7D8034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43458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90488" y="746125"/>
            <a:ext cx="6627812" cy="3727450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61EBF4-AC43-4EAF-8B87-7F68C7D8034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25285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561EBF4-AC43-4EAF-8B87-7F68C7D80341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31009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2047166" y="1122363"/>
            <a:ext cx="8620836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2019868" y="3602038"/>
            <a:ext cx="8648131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l-PL" dirty="0"/>
              <a:t>Kliknij, aby edytować styl wzorca podtytuł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26947-EF3D-4199-A703-D2BDDF2CD09D}" type="datetimeFigureOut">
              <a:rPr lang="pl-PL" smtClean="0"/>
              <a:pPr/>
              <a:t>25.04.2023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3805021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26947-EF3D-4199-A703-D2BDDF2CD09D}" type="datetimeFigureOut">
              <a:rPr lang="pl-PL" smtClean="0"/>
              <a:pPr/>
              <a:t>25.04.2023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228826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ytułu pionowego 2"/>
          <p:cNvSpPr>
            <a:spLocks noGrp="1"/>
          </p:cNvSpPr>
          <p:nvPr>
            <p:ph type="body" orient="vert" idx="1"/>
          </p:nvPr>
        </p:nvSpPr>
        <p:spPr>
          <a:xfrm>
            <a:off x="838202" y="365125"/>
            <a:ext cx="7734300" cy="5811838"/>
          </a:xfr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26947-EF3D-4199-A703-D2BDDF2CD09D}" type="datetimeFigureOut">
              <a:rPr lang="pl-PL" smtClean="0"/>
              <a:pPr/>
              <a:t>25.04.2023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601107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42045"/>
            <a:ext cx="9281160" cy="4616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390650"/>
            <a:ext cx="10515600" cy="1569660"/>
          </a:xfrm>
        </p:spPr>
        <p:txBody>
          <a:bodyPr/>
          <a:lstStyle>
            <a:lvl1pPr>
              <a:lnSpc>
                <a:spcPct val="100000"/>
              </a:lnSpc>
              <a:spcBef>
                <a:spcPts val="1800"/>
              </a:spcBef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DD3A04-B991-9146-B766-5142E7E10F2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Picture Placeholder 16"/>
          <p:cNvSpPr>
            <a:spLocks noGrp="1"/>
          </p:cNvSpPr>
          <p:nvPr>
            <p:ph type="pic" sz="quarter" idx="22" hasCustomPrompt="1"/>
          </p:nvPr>
        </p:nvSpPr>
        <p:spPr>
          <a:xfrm>
            <a:off x="10795001" y="341314"/>
            <a:ext cx="605367" cy="454025"/>
          </a:xfrm>
        </p:spPr>
        <p:txBody>
          <a:bodyPr anchor="ctr">
            <a:noAutofit/>
          </a:bodyPr>
          <a:lstStyle>
            <a:lvl1pPr marL="0" indent="0" algn="ctr">
              <a:buNone/>
              <a:defRPr sz="100"/>
            </a:lvl1pPr>
          </a:lstStyle>
          <a:p>
            <a:r>
              <a:rPr lang="en-US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77943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numeru slajdu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0DD3A04-B991-9146-B766-5142E7E10F2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1186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1965277" y="1825625"/>
            <a:ext cx="9388523" cy="4351338"/>
          </a:xfrm>
        </p:spPr>
        <p:txBody>
          <a:bodyPr/>
          <a:lstStyle/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26947-EF3D-4199-A703-D2BDDF2CD09D}" type="datetimeFigureOut">
              <a:rPr lang="pl-PL" smtClean="0"/>
              <a:pPr/>
              <a:t>25.04.2023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4578037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1849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1849" y="4589467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26947-EF3D-4199-A703-D2BDDF2CD09D}" type="datetimeFigureOut">
              <a:rPr lang="pl-PL" smtClean="0"/>
              <a:pPr/>
              <a:t>25.04.2023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9" y="365759"/>
            <a:ext cx="1598488" cy="178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244252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26947-EF3D-4199-A703-D2BDDF2CD09D}" type="datetimeFigureOut">
              <a:rPr lang="pl-PL" smtClean="0"/>
              <a:pPr/>
              <a:t>25.04.2023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9" y="365759"/>
            <a:ext cx="1598488" cy="178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502339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6172202" y="2505075"/>
            <a:ext cx="5183188" cy="3684588"/>
          </a:xfrm>
        </p:spPr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Symbol zastępczy daty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26947-EF3D-4199-A703-D2BDDF2CD09D}" type="datetimeFigureOut">
              <a:rPr lang="pl-PL" smtClean="0"/>
              <a:pPr/>
              <a:t>25.04.2023</a:t>
            </a:fld>
            <a:endParaRPr lang="pl-PL"/>
          </a:p>
        </p:txBody>
      </p:sp>
      <p:sp>
        <p:nvSpPr>
          <p:cNvPr id="8" name="Symbol zastępczy stop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9" y="365759"/>
            <a:ext cx="1598488" cy="178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114132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ować styl</a:t>
            </a:r>
          </a:p>
        </p:txBody>
      </p:sp>
      <p:sp>
        <p:nvSpPr>
          <p:cNvPr id="3" name="Symbol zastępczy daty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26947-EF3D-4199-A703-D2BDDF2CD09D}" type="datetimeFigureOut">
              <a:rPr lang="pl-PL" smtClean="0"/>
              <a:pPr/>
              <a:t>25.04.2023</a:t>
            </a:fld>
            <a:endParaRPr lang="pl-PL"/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9" y="365759"/>
            <a:ext cx="1598488" cy="178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216304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26947-EF3D-4199-A703-D2BDDF2CD09D}" type="datetimeFigureOut">
              <a:rPr lang="pl-PL" smtClean="0"/>
              <a:pPr/>
              <a:t>25.04.2023</a:t>
            </a:fld>
            <a:endParaRPr lang="pl-PL"/>
          </a:p>
        </p:txBody>
      </p:sp>
      <p:sp>
        <p:nvSpPr>
          <p:cNvPr id="3" name="Symbol zastępczy stop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39" y="365759"/>
            <a:ext cx="1598488" cy="1789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745945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26947-EF3D-4199-A703-D2BDDF2CD09D}" type="datetimeFigureOut">
              <a:rPr lang="pl-PL" smtClean="0"/>
              <a:pPr/>
              <a:t>25.04.2023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19187011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l-PL"/>
              <a:t>Kliknij, aby edytować styl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F26947-EF3D-4199-A703-D2BDDF2CD09D}" type="datetimeFigureOut">
              <a:rPr lang="pl-PL" smtClean="0"/>
              <a:pPr/>
              <a:t>25.04.2023</a:t>
            </a:fld>
            <a:endParaRPr lang="pl-PL"/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22246947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1972502" y="365126"/>
            <a:ext cx="93813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 dirty="0"/>
              <a:t>Kliknij, aby edytować styl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1972502" y="1825625"/>
            <a:ext cx="93813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 dirty="0"/>
              <a:t>Kliknij, aby edytować style wzorca tekstu</a:t>
            </a:r>
          </a:p>
          <a:p>
            <a:pPr lvl="1"/>
            <a:r>
              <a:rPr lang="pl-PL" dirty="0"/>
              <a:t>Drugi poziom</a:t>
            </a:r>
          </a:p>
          <a:p>
            <a:pPr lvl="2"/>
            <a:r>
              <a:rPr lang="pl-PL" dirty="0"/>
              <a:t>Trzeci poziom</a:t>
            </a:r>
          </a:p>
          <a:p>
            <a:pPr lvl="3"/>
            <a:r>
              <a:rPr lang="pl-PL" dirty="0"/>
              <a:t>Czwarty poziom</a:t>
            </a:r>
          </a:p>
          <a:p>
            <a:pPr lvl="4"/>
            <a:r>
              <a:rPr lang="pl-PL" dirty="0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F26947-EF3D-4199-A703-D2BDDF2CD09D}" type="datetimeFigureOut">
              <a:rPr lang="pl-PL" smtClean="0"/>
              <a:pPr/>
              <a:t>25.04.2023</a:t>
            </a:fld>
            <a:endParaRPr lang="pl-PL"/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l-PL"/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FB98FC-B2D0-444D-AD07-77A33DFAA52C}" type="slidenum">
              <a:rPr lang="pl-PL" smtClean="0"/>
              <a:pPr/>
              <a:t>‹#›</a:t>
            </a:fld>
            <a:endParaRPr lang="pl-PL"/>
          </a:p>
        </p:txBody>
      </p:sp>
      <p:pic>
        <p:nvPicPr>
          <p:cNvPr id="7" name="Obraz 6"/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1480" y="329609"/>
            <a:ext cx="1692853" cy="1849797"/>
          </a:xfrm>
          <a:prstGeom prst="rect">
            <a:avLst/>
          </a:prstGeom>
        </p:spPr>
      </p:pic>
      <p:sp>
        <p:nvSpPr>
          <p:cNvPr id="8" name="Prostokąt 7"/>
          <p:cNvSpPr/>
          <p:nvPr userDrawn="1"/>
        </p:nvSpPr>
        <p:spPr>
          <a:xfrm flipV="1">
            <a:off x="0" y="0"/>
            <a:ext cx="12192000" cy="22071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>
              <a:solidFill>
                <a:srgbClr val="248C24"/>
              </a:solidFill>
            </a:endParaRPr>
          </a:p>
        </p:txBody>
      </p:sp>
      <p:sp>
        <p:nvSpPr>
          <p:cNvPr id="9" name="Prostokąt 8"/>
          <p:cNvSpPr/>
          <p:nvPr userDrawn="1"/>
        </p:nvSpPr>
        <p:spPr>
          <a:xfrm flipV="1">
            <a:off x="0" y="6640734"/>
            <a:ext cx="12192000" cy="220718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93252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pzh.gov.pl/" TargetMode="Externa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pzh.gov.pl/" TargetMode="Externa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mp"/><Relationship Id="rId2" Type="http://schemas.openxmlformats.org/officeDocument/2006/relationships/hyperlink" Target="http://www.pzh.gov.pl/" TargetMode="Externa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hyperlink" Target="http://www.pzh.gov.pl/" TargetMode="External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://www.pzh.gov.pl/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chart" Target="../charts/chart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owiększ wykres">
            <a:extLst>
              <a:ext uri="{FF2B5EF4-FFF2-40B4-BE49-F238E27FC236}">
                <a16:creationId xmlns:a16="http://schemas.microsoft.com/office/drawing/2014/main" id="{BC915F9B-4F5B-DCC4-057D-B99AEE381F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2325" y="1545252"/>
            <a:ext cx="7564580" cy="4962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hape 189"/>
          <p:cNvSpPr txBox="1">
            <a:spLocks/>
          </p:cNvSpPr>
          <p:nvPr/>
        </p:nvSpPr>
        <p:spPr>
          <a:xfrm>
            <a:off x="828215" y="627592"/>
            <a:ext cx="10972800" cy="836974"/>
          </a:xfrm>
          <a:prstGeom prst="rect">
            <a:avLst/>
          </a:prstGeom>
          <a:noFill/>
          <a:ln>
            <a:noFill/>
          </a:ln>
        </p:spPr>
        <p:txBody>
          <a:bodyPr vert="horz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kern="120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r>
              <a:rPr lang="pl-PL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achorowania i podejrzenia zachorowań na grypę</a:t>
            </a:r>
          </a:p>
          <a:p>
            <a:pPr algn="ctr"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r>
              <a:rPr lang="pl-PL" sz="1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Średnia dzienna zapadalność (na 100 tys. ludności) wg tygodniowych meldunków w sezonie 2022/23 </a:t>
            </a:r>
            <a:br>
              <a:rPr lang="pl-PL" sz="1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pl-PL" sz="1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 porównaniu z sezonami 2015/16 – 2022/23 (www.pzh.gov.pl)</a:t>
            </a:r>
          </a:p>
        </p:txBody>
      </p:sp>
      <p:sp>
        <p:nvSpPr>
          <p:cNvPr id="5" name="Prostokąt 4"/>
          <p:cNvSpPr/>
          <p:nvPr/>
        </p:nvSpPr>
        <p:spPr>
          <a:xfrm>
            <a:off x="0" y="6588026"/>
            <a:ext cx="706374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l-PL" sz="1400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Meldunki epidemiologiczne NIZP-PZH. Dostępne na </a:t>
            </a:r>
            <a:r>
              <a:rPr lang="pl-PL" sz="1400" u="sng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hlinkClick r:id="rId3"/>
              </a:rPr>
              <a:t>www.pzh.gov.pl</a:t>
            </a:r>
            <a:r>
              <a:rPr lang="pl-PL" sz="1400" u="sng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 </a:t>
            </a:r>
          </a:p>
        </p:txBody>
      </p:sp>
      <p:graphicFrame>
        <p:nvGraphicFramePr>
          <p:cNvPr id="12" name="Tabela 8">
            <a:extLst>
              <a:ext uri="{FF2B5EF4-FFF2-40B4-BE49-F238E27FC236}">
                <a16:creationId xmlns:a16="http://schemas.microsoft.com/office/drawing/2014/main" id="{449DDCEF-96BF-4385-A308-B672C55942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4919940"/>
              </p:ext>
            </p:extLst>
          </p:nvPr>
        </p:nvGraphicFramePr>
        <p:xfrm>
          <a:off x="3273287" y="4158277"/>
          <a:ext cx="6702413" cy="1677565"/>
        </p:xfrm>
        <a:graphic>
          <a:graphicData uri="http://schemas.openxmlformats.org/drawingml/2006/table">
            <a:tbl>
              <a:tblPr/>
              <a:tblGrid>
                <a:gridCol w="8302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0040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02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5257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5426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79327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6104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61043">
                  <a:extLst>
                    <a:ext uri="{9D8B030D-6E8A-4147-A177-3AD203B41FA5}">
                      <a16:colId xmlns:a16="http://schemas.microsoft.com/office/drawing/2014/main" val="65491965"/>
                    </a:ext>
                  </a:extLst>
                </a:gridCol>
                <a:gridCol w="761043">
                  <a:extLst>
                    <a:ext uri="{9D8B030D-6E8A-4147-A177-3AD203B41FA5}">
                      <a16:colId xmlns:a16="http://schemas.microsoft.com/office/drawing/2014/main" val="2195701153"/>
                    </a:ext>
                  </a:extLst>
                </a:gridCol>
              </a:tblGrid>
              <a:tr h="23368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9-31.03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/2016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/2017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/2018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/2019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9/202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/2021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/2022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/2023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8796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chorowania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070 08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793 77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55 558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590 026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 636 950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447 941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524 869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 004 424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368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iana 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23,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4,8%</a:t>
                      </a:r>
                      <a:endParaRPr lang="pl-PL" sz="1100" b="1" i="0" u="none" strike="noStrike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21,3%</a:t>
                      </a:r>
                      <a:endParaRPr lang="pl-PL" sz="1100" b="1" i="0" u="none" strike="noStrike" kern="12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,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151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74,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8,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029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spitalizacje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07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 77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5 36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 64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 17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 80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 76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 73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368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miana 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pl-PL" sz="1100" b="0" dirty="0">
                        <a:solidFill>
                          <a:srgbClr val="FF0000"/>
                        </a:solidFill>
                      </a:endParaRP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5,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1,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4,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0,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-476,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14,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339,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3685">
                <a:tc>
                  <a:txBody>
                    <a:bodyPr/>
                    <a:lstStyle/>
                    <a:p>
                      <a:pPr algn="ctr" rtl="0" fontAlgn="ctr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gony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>
                          <a:solidFill>
                            <a:schemeClr val="tx1"/>
                          </a:solidFill>
                        </a:rPr>
                        <a:t>111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>
                          <a:solidFill>
                            <a:schemeClr val="tx1"/>
                          </a:solidFill>
                        </a:rPr>
                        <a:t>24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>
                          <a:solidFill>
                            <a:schemeClr val="tx1"/>
                          </a:solidFill>
                        </a:rPr>
                        <a:t>37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>
                          <a:solidFill>
                            <a:schemeClr val="tx1"/>
                          </a:solidFill>
                        </a:rPr>
                        <a:t>124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>
                          <a:solidFill>
                            <a:schemeClr val="tx1"/>
                          </a:solidFill>
                        </a:rPr>
                        <a:t>56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sz="1100" b="1" dirty="0">
                          <a:solidFill>
                            <a:schemeClr val="tx1"/>
                          </a:solidFill>
                        </a:rPr>
                        <a:t>116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1" name="Prostokąt 3">
            <a:extLst>
              <a:ext uri="{FF2B5EF4-FFF2-40B4-BE49-F238E27FC236}">
                <a16:creationId xmlns:a16="http://schemas.microsoft.com/office/drawing/2014/main" id="{522F41FC-FBAE-49CD-8398-3356E62209A9}"/>
              </a:ext>
            </a:extLst>
          </p:cNvPr>
          <p:cNvSpPr/>
          <p:nvPr/>
        </p:nvSpPr>
        <p:spPr>
          <a:xfrm>
            <a:off x="9210262" y="4187511"/>
            <a:ext cx="765438" cy="1634342"/>
          </a:xfrm>
          <a:prstGeom prst="rect">
            <a:avLst/>
          </a:prstGeom>
          <a:noFill/>
          <a:ln w="571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7229092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18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vert="horz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kern="120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r>
              <a:rPr lang="pl-PL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achorowania i podejrzenia zachorowań na grypę</a:t>
            </a:r>
          </a:p>
          <a:p>
            <a:pPr algn="ctr"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r>
              <a:rPr lang="pl-PL" sz="1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g tygodniowych meldunków w sezonie 2022/23 w grupach wiekowych (www.pzh.gov.pl)</a:t>
            </a: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5305141"/>
              </p:ext>
            </p:extLst>
          </p:nvPr>
        </p:nvGraphicFramePr>
        <p:xfrm>
          <a:off x="3056238" y="1900005"/>
          <a:ext cx="5479515" cy="883773"/>
        </p:xfrm>
        <a:graphic>
          <a:graphicData uri="http://schemas.openxmlformats.org/drawingml/2006/table">
            <a:tbl>
              <a:tblPr/>
              <a:tblGrid>
                <a:gridCol w="11709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72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014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04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0946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89031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achorowania w okresie 1.09.2022 –  31.03.202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9031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ek (ukończone lata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0519"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 0 do  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 5 do 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 15 do 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+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5192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 049 7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 218 32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 280 5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55 75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 004 42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5836278"/>
              </p:ext>
            </p:extLst>
          </p:nvPr>
        </p:nvGraphicFramePr>
        <p:xfrm>
          <a:off x="3056238" y="3334544"/>
          <a:ext cx="5715493" cy="1118186"/>
        </p:xfrm>
        <a:graphic>
          <a:graphicData uri="http://schemas.openxmlformats.org/drawingml/2006/table">
            <a:tbl>
              <a:tblPr/>
              <a:tblGrid>
                <a:gridCol w="13222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000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128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4783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325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90500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ospitalizacje w okresie 1.09.2022 – 31.03.202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zyczyna skierowania do szpital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7515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jawy ze strony </a:t>
                      </a:r>
                      <a:r>
                        <a:rPr lang="pl-PL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kł</a:t>
                      </a:r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Krążeni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bjawy ze strony </a:t>
                      </a:r>
                      <a:r>
                        <a:rPr lang="pl-PL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kł</a:t>
                      </a:r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oddechowego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ne przyczyny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9671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0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7 95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 168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9 73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l-PL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8978876"/>
              </p:ext>
            </p:extLst>
          </p:nvPr>
        </p:nvGraphicFramePr>
        <p:xfrm>
          <a:off x="3056237" y="5029479"/>
          <a:ext cx="5479516" cy="876300"/>
        </p:xfrm>
        <a:graphic>
          <a:graphicData uri="http://schemas.openxmlformats.org/drawingml/2006/table">
            <a:tbl>
              <a:tblPr/>
              <a:tblGrid>
                <a:gridCol w="11709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0041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983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0041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0946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90500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Zgony w okresie 1.09.2022 – 31.03.202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0500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ek (ukończone lata)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 0 do  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 5 do 1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d 15 do 6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5+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uma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8535753" y="4437786"/>
            <a:ext cx="32457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l-PL" sz="1100" dirty="0"/>
              <a:t>* przyczyn skierowania do szpitala może być kilka </a:t>
            </a:r>
          </a:p>
        </p:txBody>
      </p:sp>
      <p:sp>
        <p:nvSpPr>
          <p:cNvPr id="11" name="Prostokąt 4"/>
          <p:cNvSpPr/>
          <p:nvPr/>
        </p:nvSpPr>
        <p:spPr>
          <a:xfrm>
            <a:off x="0" y="6588026"/>
            <a:ext cx="706374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l-PL" sz="1400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Meldunki epidemiologiczne NIZP-PZH. Dostępne na </a:t>
            </a:r>
            <a:r>
              <a:rPr lang="pl-PL" sz="1400" u="sng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hlinkClick r:id="rId2"/>
              </a:rPr>
              <a:t>www.pzh.gov.pl</a:t>
            </a:r>
            <a:r>
              <a:rPr lang="pl-PL" sz="1400" u="sng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1201250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rostokąt 6"/>
          <p:cNvSpPr/>
          <p:nvPr/>
        </p:nvSpPr>
        <p:spPr>
          <a:xfrm>
            <a:off x="991132" y="5867492"/>
            <a:ext cx="10646965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l-PL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czba i procentowy udział potwierdzeń laboratoryjnych wg typu wirusa grypy. </a:t>
            </a:r>
            <a:r>
              <a:rPr lang="pl-PL" u="sng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Dane na dzień 31.03.2023</a:t>
            </a:r>
            <a:endParaRPr lang="pl-PL" dirty="0">
              <a:solidFill>
                <a:srgbClr val="002060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</a:endParaRPr>
          </a:p>
        </p:txBody>
      </p:sp>
      <p:sp>
        <p:nvSpPr>
          <p:cNvPr id="8" name="Prostokąt 7"/>
          <p:cNvSpPr/>
          <p:nvPr/>
        </p:nvSpPr>
        <p:spPr>
          <a:xfrm>
            <a:off x="0" y="6588026"/>
            <a:ext cx="706374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l-PL" sz="1400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Meldunki epidemiologiczne NIZP-PZH. Dostępne na </a:t>
            </a:r>
            <a:r>
              <a:rPr lang="pl-PL" sz="1400" u="sng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hlinkClick r:id="rId2"/>
              </a:rPr>
              <a:t>www.pzh.gov.pl</a:t>
            </a:r>
            <a:r>
              <a:rPr lang="pl-PL" sz="1400" u="sng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9" name="Shape 189"/>
          <p:cNvSpPr txBox="1">
            <a:spLocks/>
          </p:cNvSpPr>
          <p:nvPr/>
        </p:nvSpPr>
        <p:spPr>
          <a:xfrm>
            <a:off x="828215" y="627592"/>
            <a:ext cx="10972800" cy="836974"/>
          </a:xfrm>
          <a:prstGeom prst="rect">
            <a:avLst/>
          </a:prstGeom>
          <a:noFill/>
          <a:ln>
            <a:noFill/>
          </a:ln>
        </p:spPr>
        <p:txBody>
          <a:bodyPr vert="horz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kern="120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buClr>
                <a:schemeClr val="dk1"/>
              </a:buClr>
              <a:buSzPct val="25000"/>
            </a:pPr>
            <a:r>
              <a:rPr lang="pl-PL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boratoryjnie potwierdzone przypadki </a:t>
            </a:r>
          </a:p>
          <a:p>
            <a:pPr algn="ctr">
              <a:spcBef>
                <a:spcPts val="0"/>
              </a:spcBef>
              <a:buClr>
                <a:schemeClr val="dk1"/>
              </a:buClr>
              <a:buSzPct val="25000"/>
            </a:pPr>
            <a:r>
              <a:rPr lang="pl-PL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zakażeń wirusami grypy oraz szczepy wirusa grypy </a:t>
            </a:r>
          </a:p>
          <a:p>
            <a:pPr algn="ctr">
              <a:spcBef>
                <a:spcPts val="0"/>
              </a:spcBef>
              <a:buClr>
                <a:schemeClr val="dk1"/>
              </a:buClr>
              <a:buSzPct val="25000"/>
            </a:pPr>
            <a:r>
              <a:rPr lang="pl-PL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zolowane w sezonie epidemicznym 2022/2023</a:t>
            </a:r>
            <a:endParaRPr lang="pl-PL" sz="16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Obraz 5">
            <a:extLst>
              <a:ext uri="{FF2B5EF4-FFF2-40B4-BE49-F238E27FC236}">
                <a16:creationId xmlns:a16="http://schemas.microsoft.com/office/drawing/2014/main" id="{4F2E401A-7679-9F29-5DF8-6B4C8EF6F9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0397" y="2299136"/>
            <a:ext cx="9251206" cy="2937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4043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rostokąt 8"/>
          <p:cNvSpPr/>
          <p:nvPr/>
        </p:nvSpPr>
        <p:spPr>
          <a:xfrm>
            <a:off x="0" y="6588786"/>
            <a:ext cx="1103668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l-PL" sz="1400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1. Meldunki epidemiologiczne NIZP-PZH Influenza B 2008-2021 . Dostępne na </a:t>
            </a:r>
            <a:r>
              <a:rPr lang="pl-PL" sz="1400" u="sng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hlinkClick r:id="rId2"/>
              </a:rPr>
              <a:t>www.pzh.gov.pl</a:t>
            </a:r>
            <a:r>
              <a:rPr lang="pl-PL" sz="14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. </a:t>
            </a:r>
            <a:r>
              <a:rPr lang="en-US" sz="1400" dirty="0" err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lshe</a:t>
            </a:r>
            <a:r>
              <a:rPr lang="en-US" sz="14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RB. Vaccine. 2010;28S:D45-D5</a:t>
            </a:r>
            <a:r>
              <a:rPr lang="pl-PL" sz="14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2. </a:t>
            </a:r>
            <a:endParaRPr lang="pl-PL" sz="1400" dirty="0">
              <a:solidFill>
                <a:srgbClr val="002060"/>
              </a:solidFill>
              <a:latin typeface="Calibri" panose="020F0502020204030204" pitchFamily="34" charset="0"/>
              <a:ea typeface="Calibri"/>
              <a:cs typeface="Calibri" panose="020F0502020204030204" pitchFamily="34" charset="0"/>
            </a:endParaRPr>
          </a:p>
        </p:txBody>
      </p:sp>
      <p:sp>
        <p:nvSpPr>
          <p:cNvPr id="10" name="Shape 189"/>
          <p:cNvSpPr txBox="1">
            <a:spLocks/>
          </p:cNvSpPr>
          <p:nvPr/>
        </p:nvSpPr>
        <p:spPr>
          <a:xfrm>
            <a:off x="828215" y="581097"/>
            <a:ext cx="10972800" cy="836974"/>
          </a:xfrm>
          <a:prstGeom prst="rect">
            <a:avLst/>
          </a:prstGeom>
          <a:noFill/>
          <a:ln>
            <a:noFill/>
          </a:ln>
        </p:spPr>
        <p:txBody>
          <a:bodyPr vert="horz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kern="120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pl-PL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centowy udział wirusa B </a:t>
            </a:r>
          </a:p>
          <a:p>
            <a:pPr algn="ctr"/>
            <a:r>
              <a:rPr lang="pl-PL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śród potwierdzonych zachorowań na grypę w Polsce</a:t>
            </a:r>
            <a:endParaRPr lang="pl-PL" sz="2800" b="1" baseline="300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lvl="1" algn="ctr"/>
            <a:r>
              <a:rPr lang="pl" sz="17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irusy grypy </a:t>
            </a:r>
            <a:r>
              <a:rPr lang="pl" sz="17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ypu B to istotna przyczyna epidemii </a:t>
            </a:r>
            <a:r>
              <a:rPr lang="pl" sz="17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ypy występujących </a:t>
            </a:r>
            <a:r>
              <a:rPr lang="pl" sz="17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 świecie co 2–4 lata</a:t>
            </a:r>
          </a:p>
        </p:txBody>
      </p:sp>
      <p:graphicFrame>
        <p:nvGraphicFramePr>
          <p:cNvPr id="6" name="Wykres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2357379"/>
              </p:ext>
            </p:extLst>
          </p:nvPr>
        </p:nvGraphicFramePr>
        <p:xfrm>
          <a:off x="211015" y="2071450"/>
          <a:ext cx="11852031" cy="43176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pole tekstowe 3">
            <a:extLst>
              <a:ext uri="{FF2B5EF4-FFF2-40B4-BE49-F238E27FC236}">
                <a16:creationId xmlns:a16="http://schemas.microsoft.com/office/drawing/2014/main" id="{9A88CB62-8CFE-823F-73EF-F87C9245C23F}"/>
              </a:ext>
            </a:extLst>
          </p:cNvPr>
          <p:cNvSpPr txBox="1"/>
          <p:nvPr/>
        </p:nvSpPr>
        <p:spPr>
          <a:xfrm>
            <a:off x="8829892" y="6588785"/>
            <a:ext cx="33621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pl-PL" sz="1400" u="sng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Dane na dzień 31.03.2023</a:t>
            </a:r>
            <a:endParaRPr lang="pl-PL" sz="1400" dirty="0"/>
          </a:p>
        </p:txBody>
      </p:sp>
    </p:spTree>
    <p:extLst>
      <p:ext uri="{BB962C8B-B14F-4D97-AF65-F5344CB8AC3E}">
        <p14:creationId xmlns:p14="http://schemas.microsoft.com/office/powerpoint/2010/main" val="136713108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Symbol zastępczy zawartości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55432383"/>
              </p:ext>
            </p:extLst>
          </p:nvPr>
        </p:nvGraphicFramePr>
        <p:xfrm>
          <a:off x="1887415" y="1565824"/>
          <a:ext cx="9271105" cy="4957138"/>
        </p:xfrm>
        <a:graphic>
          <a:graphicData uri="http://schemas.openxmlformats.org/drawingml/2006/table">
            <a:tbl>
              <a:tblPr/>
              <a:tblGrid>
                <a:gridCol w="178385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658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451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4511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21896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1221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0267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Sezon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Wiek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Suma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12738">
                <a:tc v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od 0 do  4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od 5 do 14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od 15 do 64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65+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pl-PL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7430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012/2013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81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12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7430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013/2014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15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7430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014/2015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7430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015/2016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79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56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14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7430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016/2017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7430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017/2018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8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7430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018/2019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78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15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7430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019/202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7430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020/2021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3854853"/>
                  </a:ext>
                </a:extLst>
              </a:tr>
              <a:tr h="367430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021/2022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7430"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2022/2023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l-PL" sz="20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97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l-PL" sz="2000" b="1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116</a:t>
                      </a:r>
                    </a:p>
                  </a:txBody>
                  <a:tcPr marL="12700" marR="12700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5829328"/>
                  </a:ext>
                </a:extLst>
              </a:tr>
            </a:tbl>
          </a:graphicData>
        </a:graphic>
      </p:graphicFrame>
      <p:sp>
        <p:nvSpPr>
          <p:cNvPr id="9" name="Shape 189"/>
          <p:cNvSpPr txBox="1">
            <a:spLocks/>
          </p:cNvSpPr>
          <p:nvPr/>
        </p:nvSpPr>
        <p:spPr>
          <a:xfrm>
            <a:off x="821085" y="3625906"/>
            <a:ext cx="10972800" cy="836974"/>
          </a:xfrm>
          <a:prstGeom prst="rect">
            <a:avLst/>
          </a:prstGeom>
          <a:noFill/>
          <a:ln>
            <a:noFill/>
          </a:ln>
        </p:spPr>
        <p:txBody>
          <a:bodyPr vert="horz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kern="120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endParaRPr lang="pl-PL" sz="16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6" name="Shape 189"/>
          <p:cNvSpPr txBox="1">
            <a:spLocks/>
          </p:cNvSpPr>
          <p:nvPr/>
        </p:nvSpPr>
        <p:spPr>
          <a:xfrm>
            <a:off x="828215" y="627592"/>
            <a:ext cx="10972800" cy="836974"/>
          </a:xfrm>
          <a:prstGeom prst="rect">
            <a:avLst/>
          </a:prstGeom>
          <a:noFill/>
          <a:ln>
            <a:noFill/>
          </a:ln>
        </p:spPr>
        <p:txBody>
          <a:bodyPr vert="horz" lIns="91425" tIns="45700" rIns="91425" bIns="4570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kern="1200">
                <a:solidFill>
                  <a:schemeClr val="bg1">
                    <a:lumMod val="50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spcBef>
                <a:spcPts val="0"/>
              </a:spcBef>
              <a:buClr>
                <a:schemeClr val="dk1"/>
              </a:buClr>
              <a:buSzPct val="25000"/>
            </a:pPr>
            <a:r>
              <a:rPr lang="pl-PL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czba potwierdzonych zgonów z powodu grypy </a:t>
            </a:r>
          </a:p>
          <a:p>
            <a:pPr algn="ctr">
              <a:spcBef>
                <a:spcPts val="0"/>
              </a:spcBef>
              <a:buClr>
                <a:schemeClr val="dk1"/>
              </a:buClr>
              <a:buSzPct val="25000"/>
            </a:pPr>
            <a:r>
              <a:rPr lang="pl-PL" sz="28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 czasie ostatnich 10 sezonów grypowych w Polsce</a:t>
            </a:r>
            <a:endParaRPr lang="pl-PL" sz="16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spcBef>
                <a:spcPts val="0"/>
              </a:spcBef>
              <a:buClr>
                <a:schemeClr val="dk1"/>
              </a:buClr>
              <a:buSzPct val="25000"/>
              <a:buFont typeface="Calibri"/>
              <a:buNone/>
            </a:pPr>
            <a:endParaRPr lang="pl-PL" sz="16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Prostokąt 6"/>
          <p:cNvSpPr/>
          <p:nvPr/>
        </p:nvSpPr>
        <p:spPr>
          <a:xfrm>
            <a:off x="0" y="6588026"/>
            <a:ext cx="706374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pl-PL" sz="1400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Meldunki epidemiologiczne NIZP-PZH. Dostępne na </a:t>
            </a:r>
            <a:r>
              <a:rPr lang="pl-PL" sz="1400" u="sng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  <a:hlinkClick r:id="rId2"/>
              </a:rPr>
              <a:t>www.pzh.gov.pl</a:t>
            </a:r>
            <a:r>
              <a:rPr lang="pl-PL" sz="1400" u="sng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2" name="pole tekstowe 1">
            <a:extLst>
              <a:ext uri="{FF2B5EF4-FFF2-40B4-BE49-F238E27FC236}">
                <a16:creationId xmlns:a16="http://schemas.microsoft.com/office/drawing/2014/main" id="{5EEEAAB2-EB7E-E5B4-B078-307F389CC3E1}"/>
              </a:ext>
            </a:extLst>
          </p:cNvPr>
          <p:cNvSpPr txBox="1"/>
          <p:nvPr/>
        </p:nvSpPr>
        <p:spPr>
          <a:xfrm>
            <a:off x="7796412" y="6588025"/>
            <a:ext cx="33621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pl-PL" sz="1400" u="sng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ane z całego sezonu</a:t>
            </a:r>
            <a:endParaRPr lang="pl-PL" sz="1400" dirty="0"/>
          </a:p>
        </p:txBody>
      </p:sp>
    </p:spTree>
    <p:extLst>
      <p:ext uri="{BB962C8B-B14F-4D97-AF65-F5344CB8AC3E}">
        <p14:creationId xmlns:p14="http://schemas.microsoft.com/office/powerpoint/2010/main" val="408262213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>
            <a:extLst>
              <a:ext uri="{FF2B5EF4-FFF2-40B4-BE49-F238E27FC236}">
                <a16:creationId xmlns:a16="http://schemas.microsoft.com/office/drawing/2014/main" id="{34F10483-3665-499D-A5B5-0CE926DC10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2377220"/>
              </p:ext>
            </p:extLst>
          </p:nvPr>
        </p:nvGraphicFramePr>
        <p:xfrm>
          <a:off x="1581" y="1592"/>
          <a:ext cx="1582" cy="15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1" y="1592"/>
                        <a:ext cx="1582" cy="15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rostokąt 2" hidden="1">
            <a:extLst>
              <a:ext uri="{FF2B5EF4-FFF2-40B4-BE49-F238E27FC236}">
                <a16:creationId xmlns:a16="http://schemas.microsoft.com/office/drawing/2014/main" id="{9A85DA84-5E9D-4394-96C7-B67F2FC2FAD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112" cy="1591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l-PL" sz="20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57D00004-3AC8-4164-9951-AC42B74986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8227" y="492624"/>
            <a:ext cx="9172420" cy="1143000"/>
          </a:xfrm>
        </p:spPr>
        <p:txBody>
          <a:bodyPr>
            <a:normAutofit/>
          </a:bodyPr>
          <a:lstStyle/>
          <a:p>
            <a:pPr algn="ctr"/>
            <a:r>
              <a:rPr lang="pl-PL" sz="24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zacunkowe liczby dawek szczepionek przeciw grypie sprzedanych na rynku polskim w sezonach 2017/2018 – 2022/2023</a:t>
            </a:r>
            <a:br>
              <a:rPr lang="pl-PL" sz="24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pl-PL" sz="24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raz poziom wyszczepialności przeciw grypie populacji polskiej</a:t>
            </a:r>
          </a:p>
        </p:txBody>
      </p:sp>
      <p:sp>
        <p:nvSpPr>
          <p:cNvPr id="15" name="Prostokąt 14">
            <a:extLst>
              <a:ext uri="{FF2B5EF4-FFF2-40B4-BE49-F238E27FC236}">
                <a16:creationId xmlns:a16="http://schemas.microsoft.com/office/drawing/2014/main" id="{0E1947DE-D1C1-4176-91DB-BE3488CCD7D9}"/>
              </a:ext>
            </a:extLst>
          </p:cNvPr>
          <p:cNvSpPr/>
          <p:nvPr/>
        </p:nvSpPr>
        <p:spPr>
          <a:xfrm>
            <a:off x="727764" y="2405452"/>
            <a:ext cx="430312" cy="29449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pl-PL" sz="1400" dirty="0">
                <a:solidFill>
                  <a:schemeClr val="tx1"/>
                </a:solidFill>
              </a:rPr>
              <a:t>Liczba dawek szczepionek przeciw grypie (w tysiącach)</a:t>
            </a:r>
          </a:p>
        </p:txBody>
      </p:sp>
      <p:sp>
        <p:nvSpPr>
          <p:cNvPr id="17" name="Prostokąt 16">
            <a:extLst>
              <a:ext uri="{FF2B5EF4-FFF2-40B4-BE49-F238E27FC236}">
                <a16:creationId xmlns:a16="http://schemas.microsoft.com/office/drawing/2014/main" id="{E6FB798C-09A6-431C-B285-068472C8FE9A}"/>
              </a:ext>
            </a:extLst>
          </p:cNvPr>
          <p:cNvSpPr/>
          <p:nvPr/>
        </p:nvSpPr>
        <p:spPr>
          <a:xfrm>
            <a:off x="773224" y="5799760"/>
            <a:ext cx="11144005" cy="5862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br>
              <a:rPr lang="pl-PL" sz="1600" dirty="0"/>
            </a:br>
            <a:r>
              <a:rPr lang="pl-PL" sz="1600" b="1" dirty="0">
                <a:solidFill>
                  <a:srgbClr val="002060"/>
                </a:solidFill>
                <a:ea typeface="+mj-ea"/>
                <a:cs typeface="Calibri" panose="020F0502020204030204" pitchFamily="34" charset="0"/>
              </a:rPr>
              <a:t>Na</a:t>
            </a:r>
            <a:r>
              <a:rPr lang="pl-PL" sz="1600" dirty="0"/>
              <a:t> </a:t>
            </a:r>
            <a:r>
              <a:rPr lang="pl-PL" sz="1600" b="1" dirty="0">
                <a:solidFill>
                  <a:srgbClr val="002060"/>
                </a:solidFill>
                <a:ea typeface="+mj-ea"/>
                <a:cs typeface="Calibri" panose="020F0502020204030204" pitchFamily="34" charset="0"/>
              </a:rPr>
              <a:t>podstawie</a:t>
            </a:r>
            <a:r>
              <a:rPr lang="pl-PL" sz="1600" dirty="0"/>
              <a:t> </a:t>
            </a:r>
            <a:r>
              <a:rPr lang="pl-PL" sz="1600" b="1" dirty="0">
                <a:solidFill>
                  <a:srgbClr val="002060"/>
                </a:solidFill>
                <a:ea typeface="+mj-ea"/>
                <a:cs typeface="Calibri" panose="020F0502020204030204" pitchFamily="34" charset="0"/>
              </a:rPr>
              <a:t>estymacji rynkowych na bazie danych pochodzących od dystrybutorów oraz dostępnych na stronie www.pzh.gov.pl</a:t>
            </a:r>
          </a:p>
        </p:txBody>
      </p:sp>
      <p:graphicFrame>
        <p:nvGraphicFramePr>
          <p:cNvPr id="24" name="Wykres 23">
            <a:extLst>
              <a:ext uri="{FF2B5EF4-FFF2-40B4-BE49-F238E27FC236}">
                <a16:creationId xmlns:a16="http://schemas.microsoft.com/office/drawing/2014/main" id="{B00081B2-5F06-4C78-836F-8B19F7E4413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6436826"/>
              </p:ext>
            </p:extLst>
          </p:nvPr>
        </p:nvGraphicFramePr>
        <p:xfrm>
          <a:off x="1266492" y="1757338"/>
          <a:ext cx="10545709" cy="42023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5" name="pole tekstowe 5">
            <a:extLst>
              <a:ext uri="{FF2B5EF4-FFF2-40B4-BE49-F238E27FC236}">
                <a16:creationId xmlns:a16="http://schemas.microsoft.com/office/drawing/2014/main" id="{F6DD6029-B164-4EB4-996D-2E1979AD7D9D}"/>
              </a:ext>
            </a:extLst>
          </p:cNvPr>
          <p:cNvSpPr txBox="1"/>
          <p:nvPr/>
        </p:nvSpPr>
        <p:spPr>
          <a:xfrm>
            <a:off x="3768423" y="5006146"/>
            <a:ext cx="866870" cy="401131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114" fontAlgn="base">
              <a:spcBef>
                <a:spcPct val="0"/>
              </a:spcBef>
              <a:spcAft>
                <a:spcPct val="0"/>
              </a:spcAft>
            </a:pPr>
            <a:r>
              <a:rPr lang="pl-PL" sz="2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3,90%</a:t>
            </a:r>
          </a:p>
        </p:txBody>
      </p:sp>
      <p:sp>
        <p:nvSpPr>
          <p:cNvPr id="28" name="pole tekstowe 8">
            <a:extLst>
              <a:ext uri="{FF2B5EF4-FFF2-40B4-BE49-F238E27FC236}">
                <a16:creationId xmlns:a16="http://schemas.microsoft.com/office/drawing/2014/main" id="{E16D5A2D-6FAE-4038-A773-81045ADA5683}"/>
              </a:ext>
            </a:extLst>
          </p:cNvPr>
          <p:cNvSpPr txBox="1"/>
          <p:nvPr/>
        </p:nvSpPr>
        <p:spPr>
          <a:xfrm>
            <a:off x="2127164" y="5014794"/>
            <a:ext cx="866869" cy="401131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114" fontAlgn="base">
              <a:spcBef>
                <a:spcPct val="0"/>
              </a:spcBef>
              <a:spcAft>
                <a:spcPct val="0"/>
              </a:spcAft>
            </a:pPr>
            <a:r>
              <a:rPr lang="pl-PL" sz="2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3,64%</a:t>
            </a:r>
          </a:p>
        </p:txBody>
      </p:sp>
      <p:sp>
        <p:nvSpPr>
          <p:cNvPr id="29" name="pole tekstowe 19">
            <a:extLst>
              <a:ext uri="{FF2B5EF4-FFF2-40B4-BE49-F238E27FC236}">
                <a16:creationId xmlns:a16="http://schemas.microsoft.com/office/drawing/2014/main" id="{6FCFC91E-BD79-4752-899F-3B62DD6018EC}"/>
              </a:ext>
            </a:extLst>
          </p:cNvPr>
          <p:cNvSpPr txBox="1"/>
          <p:nvPr/>
        </p:nvSpPr>
        <p:spPr>
          <a:xfrm>
            <a:off x="5420908" y="5006145"/>
            <a:ext cx="847515" cy="401131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114" fontAlgn="base">
              <a:spcBef>
                <a:spcPct val="0"/>
              </a:spcBef>
              <a:spcAft>
                <a:spcPct val="0"/>
              </a:spcAft>
            </a:pPr>
            <a:r>
              <a:rPr lang="pl-PL" sz="2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4,12%</a:t>
            </a:r>
          </a:p>
        </p:txBody>
      </p:sp>
      <p:sp>
        <p:nvSpPr>
          <p:cNvPr id="33" name="pole tekstowe 15">
            <a:extLst>
              <a:ext uri="{FF2B5EF4-FFF2-40B4-BE49-F238E27FC236}">
                <a16:creationId xmlns:a16="http://schemas.microsoft.com/office/drawing/2014/main" id="{6FCFC91E-BD79-4752-899F-3B62DD6018EC}"/>
              </a:ext>
            </a:extLst>
          </p:cNvPr>
          <p:cNvSpPr txBox="1"/>
          <p:nvPr/>
        </p:nvSpPr>
        <p:spPr>
          <a:xfrm>
            <a:off x="8685311" y="4999660"/>
            <a:ext cx="1080161" cy="401131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114" fontAlgn="base">
              <a:spcBef>
                <a:spcPct val="0"/>
              </a:spcBef>
              <a:spcAft>
                <a:spcPct val="0"/>
              </a:spcAft>
            </a:pPr>
            <a:r>
              <a:rPr lang="pl-PL" sz="2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7,0%</a:t>
            </a:r>
          </a:p>
        </p:txBody>
      </p:sp>
      <p:sp>
        <p:nvSpPr>
          <p:cNvPr id="34" name="pole tekstowe 18">
            <a:extLst>
              <a:ext uri="{FF2B5EF4-FFF2-40B4-BE49-F238E27FC236}">
                <a16:creationId xmlns:a16="http://schemas.microsoft.com/office/drawing/2014/main" id="{9F838D2E-A4A0-4CEC-B056-D7BD2FB956E9}"/>
              </a:ext>
            </a:extLst>
          </p:cNvPr>
          <p:cNvSpPr txBox="1"/>
          <p:nvPr/>
        </p:nvSpPr>
        <p:spPr>
          <a:xfrm>
            <a:off x="7071108" y="5001822"/>
            <a:ext cx="847516" cy="401131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114" fontAlgn="base">
              <a:spcBef>
                <a:spcPct val="0"/>
              </a:spcBef>
              <a:spcAft>
                <a:spcPct val="0"/>
              </a:spcAft>
            </a:pPr>
            <a:r>
              <a:rPr lang="pl-PL" sz="2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6,01%</a:t>
            </a:r>
          </a:p>
        </p:txBody>
      </p:sp>
      <p:sp>
        <p:nvSpPr>
          <p:cNvPr id="7" name="Prostokąt 6">
            <a:extLst>
              <a:ext uri="{FF2B5EF4-FFF2-40B4-BE49-F238E27FC236}">
                <a16:creationId xmlns:a16="http://schemas.microsoft.com/office/drawing/2014/main" id="{FCD7A823-9EDA-5098-9337-4A8136ED0AAF}"/>
              </a:ext>
            </a:extLst>
          </p:cNvPr>
          <p:cNvSpPr/>
          <p:nvPr/>
        </p:nvSpPr>
        <p:spPr>
          <a:xfrm>
            <a:off x="10439909" y="3338623"/>
            <a:ext cx="628584" cy="22002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l-PL" sz="15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 150</a:t>
            </a:r>
          </a:p>
          <a:p>
            <a:pPr algn="ctr"/>
            <a:endParaRPr lang="pl-PL" sz="15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endParaRPr lang="pl-PL" sz="15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endParaRPr lang="pl-PL" sz="15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endParaRPr lang="pl-PL" sz="15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endParaRPr lang="pl-PL" sz="15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endParaRPr lang="pl-PL" sz="15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ctr"/>
            <a:endParaRPr lang="pl-PL" sz="15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pole tekstowe 15">
            <a:extLst>
              <a:ext uri="{FF2B5EF4-FFF2-40B4-BE49-F238E27FC236}">
                <a16:creationId xmlns:a16="http://schemas.microsoft.com/office/drawing/2014/main" id="{8900CDF0-51C5-1CA7-2817-A3A4B1E71A7E}"/>
              </a:ext>
            </a:extLst>
          </p:cNvPr>
          <p:cNvSpPr txBox="1"/>
          <p:nvPr/>
        </p:nvSpPr>
        <p:spPr>
          <a:xfrm>
            <a:off x="10244474" y="4998579"/>
            <a:ext cx="1080161" cy="401131"/>
          </a:xfrm>
          <a:prstGeom prst="rect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>
            <a:defPPr>
              <a:defRPr lang="pl-PL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2114" fontAlgn="base">
              <a:spcBef>
                <a:spcPct val="0"/>
              </a:spcBef>
              <a:spcAft>
                <a:spcPct val="0"/>
              </a:spcAft>
            </a:pPr>
            <a:r>
              <a:rPr lang="pl-PL" sz="2000" b="1" dirty="0">
                <a:solidFill>
                  <a:srgbClr val="FFFFFF"/>
                </a:solidFill>
                <a:latin typeface="Calibri" pitchFamily="34" charset="0"/>
                <a:cs typeface="Calibri" pitchFamily="34" charset="0"/>
              </a:rPr>
              <a:t>5,5%</a:t>
            </a:r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5576826A-F97F-778C-F46C-7CBACD25DCD0}"/>
              </a:ext>
            </a:extLst>
          </p:cNvPr>
          <p:cNvSpPr txBox="1"/>
          <p:nvPr/>
        </p:nvSpPr>
        <p:spPr>
          <a:xfrm>
            <a:off x="8829892" y="6588785"/>
            <a:ext cx="3362108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pl-PL" sz="1400" u="sng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Dane na dzień 31.03.2023</a:t>
            </a:r>
            <a:endParaRPr lang="pl-PL" sz="1400" dirty="0"/>
          </a:p>
        </p:txBody>
      </p:sp>
    </p:spTree>
    <p:extLst>
      <p:ext uri="{BB962C8B-B14F-4D97-AF65-F5344CB8AC3E}">
        <p14:creationId xmlns:p14="http://schemas.microsoft.com/office/powerpoint/2010/main" val="30851511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>
            <a:extLst>
              <a:ext uri="{FF2B5EF4-FFF2-40B4-BE49-F238E27FC236}">
                <a16:creationId xmlns:a16="http://schemas.microsoft.com/office/drawing/2014/main" id="{34F10483-3665-499D-A5B5-0CE926DC10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1" y="1592"/>
          <a:ext cx="1582" cy="15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4" name="Obiekt 3" hidden="1">
                        <a:extLst>
                          <a:ext uri="{FF2B5EF4-FFF2-40B4-BE49-F238E27FC236}">
                            <a16:creationId xmlns:a16="http://schemas.microsoft.com/office/drawing/2014/main" id="{34F10483-3665-499D-A5B5-0CE926DC10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1" y="1592"/>
                        <a:ext cx="1582" cy="15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rostokąt 2" hidden="1">
            <a:extLst>
              <a:ext uri="{FF2B5EF4-FFF2-40B4-BE49-F238E27FC236}">
                <a16:creationId xmlns:a16="http://schemas.microsoft.com/office/drawing/2014/main" id="{9A85DA84-5E9D-4394-96C7-B67F2FC2FAD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112" cy="1591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l-PL" sz="20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57D00004-3AC8-4164-9951-AC42B74986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2210" y="744415"/>
            <a:ext cx="9642956" cy="1143000"/>
          </a:xfrm>
        </p:spPr>
        <p:txBody>
          <a:bodyPr>
            <a:normAutofit/>
          </a:bodyPr>
          <a:lstStyle/>
          <a:p>
            <a:pPr algn="ctr"/>
            <a:r>
              <a:rPr lang="pl-PL" sz="24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czba wystawionych e-recept oraz wykonanych szczepień przeciw grypie w podmiotach leczniczych oraz aptekach na bazie danych Centrum e-Zdrowia</a:t>
            </a:r>
          </a:p>
        </p:txBody>
      </p:sp>
      <p:graphicFrame>
        <p:nvGraphicFramePr>
          <p:cNvPr id="5" name="Tabela 5">
            <a:extLst>
              <a:ext uri="{FF2B5EF4-FFF2-40B4-BE49-F238E27FC236}">
                <a16:creationId xmlns:a16="http://schemas.microsoft.com/office/drawing/2014/main" id="{E7B511AC-CC2F-EFB4-EEF6-BB5875C44EA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898996"/>
              </p:ext>
            </p:extLst>
          </p:nvPr>
        </p:nvGraphicFramePr>
        <p:xfrm>
          <a:off x="1146313" y="2872740"/>
          <a:ext cx="9899374" cy="1112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49687">
                  <a:extLst>
                    <a:ext uri="{9D8B030D-6E8A-4147-A177-3AD203B41FA5}">
                      <a16:colId xmlns:a16="http://schemas.microsoft.com/office/drawing/2014/main" val="3406561878"/>
                    </a:ext>
                  </a:extLst>
                </a:gridCol>
                <a:gridCol w="4949687">
                  <a:extLst>
                    <a:ext uri="{9D8B030D-6E8A-4147-A177-3AD203B41FA5}">
                      <a16:colId xmlns:a16="http://schemas.microsoft.com/office/drawing/2014/main" val="528777759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pPr algn="ctr"/>
                      <a:r>
                        <a:rPr lang="pl-PL" b="0" dirty="0">
                          <a:solidFill>
                            <a:schemeClr val="tx1"/>
                          </a:solidFill>
                        </a:rPr>
                        <a:t>Szczepienia przeciw grypie wykonane w okresie </a:t>
                      </a:r>
                      <a:r>
                        <a:rPr lang="pl-PL" b="1" dirty="0">
                          <a:solidFill>
                            <a:schemeClr val="tx1"/>
                          </a:solidFill>
                        </a:rPr>
                        <a:t>01.09.2022 — 22.03.2023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l-PL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81388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l-PL" b="0" dirty="0"/>
                        <a:t>w podmiotach leczniczy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b="0" dirty="0"/>
                        <a:t>W apteka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570733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l-PL" b="1" dirty="0"/>
                        <a:t>632 79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l-PL" b="1" dirty="0"/>
                        <a:t>126 67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1143829"/>
                  </a:ext>
                </a:extLst>
              </a:tr>
            </a:tbl>
          </a:graphicData>
        </a:graphic>
      </p:graphicFrame>
      <p:graphicFrame>
        <p:nvGraphicFramePr>
          <p:cNvPr id="8" name="Tabela 5">
            <a:extLst>
              <a:ext uri="{FF2B5EF4-FFF2-40B4-BE49-F238E27FC236}">
                <a16:creationId xmlns:a16="http://schemas.microsoft.com/office/drawing/2014/main" id="{DAA65AC2-6865-C982-3DF7-C85D31CFE2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6806564"/>
              </p:ext>
            </p:extLst>
          </p:nvPr>
        </p:nvGraphicFramePr>
        <p:xfrm>
          <a:off x="1146313" y="4427578"/>
          <a:ext cx="9899374" cy="7416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899374">
                  <a:extLst>
                    <a:ext uri="{9D8B030D-6E8A-4147-A177-3AD203B41FA5}">
                      <a16:colId xmlns:a16="http://schemas.microsoft.com/office/drawing/2014/main" val="340656187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l-PL" b="0" dirty="0">
                          <a:solidFill>
                            <a:schemeClr val="tx1"/>
                          </a:solidFill>
                        </a:rPr>
                        <a:t>Liczba wystawionych e-recept na szczepionki przeciw grypie w okresie </a:t>
                      </a:r>
                      <a:r>
                        <a:rPr lang="pl-PL" b="1" dirty="0">
                          <a:solidFill>
                            <a:schemeClr val="tx1"/>
                          </a:solidFill>
                        </a:rPr>
                        <a:t>01.09.2022 — 22.03.20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81388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pl-PL" b="1" dirty="0"/>
                        <a:t>1 350 64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1143829"/>
                  </a:ext>
                </a:extLst>
              </a:tr>
            </a:tbl>
          </a:graphicData>
        </a:graphic>
      </p:graphicFrame>
      <p:sp>
        <p:nvSpPr>
          <p:cNvPr id="7" name="Prostokąt 6"/>
          <p:cNvSpPr/>
          <p:nvPr/>
        </p:nvSpPr>
        <p:spPr>
          <a:xfrm>
            <a:off x="10112584" y="6608178"/>
            <a:ext cx="207941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pl-PL" sz="1400" u="sng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Dane na dzień 31.03.2023</a:t>
            </a:r>
            <a:endParaRPr lang="pl-PL" sz="1400" dirty="0"/>
          </a:p>
        </p:txBody>
      </p:sp>
    </p:spTree>
    <p:extLst>
      <p:ext uri="{BB962C8B-B14F-4D97-AF65-F5344CB8AC3E}">
        <p14:creationId xmlns:p14="http://schemas.microsoft.com/office/powerpoint/2010/main" val="13069691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iekt 3" hidden="1">
            <a:extLst>
              <a:ext uri="{FF2B5EF4-FFF2-40B4-BE49-F238E27FC236}">
                <a16:creationId xmlns:a16="http://schemas.microsoft.com/office/drawing/2014/main" id="{34F10483-3665-499D-A5B5-0CE926DC106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2" y="24063"/>
          <a:ext cx="1582" cy="15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4" name="Obiekt 3" hidden="1">
                        <a:extLst>
                          <a:ext uri="{FF2B5EF4-FFF2-40B4-BE49-F238E27FC236}">
                            <a16:creationId xmlns:a16="http://schemas.microsoft.com/office/drawing/2014/main" id="{34F10483-3665-499D-A5B5-0CE926DC10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2" y="24063"/>
                        <a:ext cx="1582" cy="158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rostokąt 2" hidden="1">
            <a:extLst>
              <a:ext uri="{FF2B5EF4-FFF2-40B4-BE49-F238E27FC236}">
                <a16:creationId xmlns:a16="http://schemas.microsoft.com/office/drawing/2014/main" id="{9A85DA84-5E9D-4394-96C7-B67F2FC2FAD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22481"/>
            <a:ext cx="158112" cy="15811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pl-PL" sz="1992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57D00004-3AC8-4164-9951-AC42B74986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8227" y="511876"/>
            <a:ext cx="9172420" cy="1135507"/>
          </a:xfrm>
        </p:spPr>
        <p:txBody>
          <a:bodyPr>
            <a:noAutofit/>
          </a:bodyPr>
          <a:lstStyle/>
          <a:p>
            <a:pPr algn="ctr"/>
            <a:r>
              <a:rPr lang="pl-PL" sz="24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Średnie poziomy zaszczepienia populacji w poszczególnych grupach wiekowych </a:t>
            </a:r>
            <a:r>
              <a:rPr lang="pl-PL" sz="2400" b="1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 sezonach 2011/12-2021/22</a:t>
            </a:r>
            <a:br>
              <a:rPr lang="pl-PL" sz="20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pl-PL" sz="2000" b="1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Prostokąt 4"/>
          <p:cNvSpPr/>
          <p:nvPr/>
        </p:nvSpPr>
        <p:spPr>
          <a:xfrm>
            <a:off x="452290" y="6189328"/>
            <a:ext cx="1156447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l-PL" sz="1600" b="1" dirty="0">
                <a:solidFill>
                  <a:srgbClr val="002060"/>
                </a:solidFill>
                <a:cs typeface="Calibri" panose="020F0502020204030204" pitchFamily="34" charset="0"/>
              </a:rPr>
              <a:t>Na</a:t>
            </a:r>
            <a:r>
              <a:rPr lang="pl-PL" sz="1600" dirty="0"/>
              <a:t> </a:t>
            </a:r>
            <a:r>
              <a:rPr lang="pl-PL" sz="1600" b="1" dirty="0">
                <a:solidFill>
                  <a:srgbClr val="002060"/>
                </a:solidFill>
                <a:cs typeface="Calibri" panose="020F0502020204030204" pitchFamily="34" charset="0"/>
              </a:rPr>
              <a:t>podstawie estymacji rynkowych na bazie danych pochodzących od dystrybutorów oraz dostępnych na stronie www.pzh.gov.pl</a:t>
            </a:r>
            <a:endParaRPr lang="pl-PL" sz="1600" dirty="0"/>
          </a:p>
        </p:txBody>
      </p:sp>
      <p:graphicFrame>
        <p:nvGraphicFramePr>
          <p:cNvPr id="9" name="Wykres 8">
            <a:extLst>
              <a:ext uri="{FF2B5EF4-FFF2-40B4-BE49-F238E27FC236}">
                <a16:creationId xmlns:a16="http://schemas.microsoft.com/office/drawing/2014/main" id="{2DE704C6-2D7B-4B4E-80EB-51652044A45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37337172"/>
              </p:ext>
            </p:extLst>
          </p:nvPr>
        </p:nvGraphicFramePr>
        <p:xfrm>
          <a:off x="1823856" y="1170096"/>
          <a:ext cx="9801161" cy="50192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6" name="Prostokąt 5"/>
          <p:cNvSpPr/>
          <p:nvPr/>
        </p:nvSpPr>
        <p:spPr>
          <a:xfrm>
            <a:off x="10112584" y="6571968"/>
            <a:ext cx="207941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pl-PL" sz="1400" u="sng" dirty="0">
                <a:solidFill>
                  <a:srgbClr val="002060"/>
                </a:solidFill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Dane na dzień 31.03.2023</a:t>
            </a:r>
            <a:endParaRPr lang="pl-PL" sz="1400" dirty="0"/>
          </a:p>
        </p:txBody>
      </p:sp>
    </p:spTree>
    <p:extLst>
      <p:ext uri="{BB962C8B-B14F-4D97-AF65-F5344CB8AC3E}">
        <p14:creationId xmlns:p14="http://schemas.microsoft.com/office/powerpoint/2010/main" val="77537920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pKTB787xVOqfWVGx6xB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pKTB787xVOqfWVGx6xB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pKTB787xVOqfWVGx6xBw"/>
</p:tagLst>
</file>

<file path=ppt/theme/theme1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Pakiet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Pakiet 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Pakiet 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Pakiet 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317</TotalTime>
  <Words>684</Words>
  <Application>Microsoft Office PowerPoint</Application>
  <PresentationFormat>Panoramiczny</PresentationFormat>
  <Paragraphs>214</Paragraphs>
  <Slides>8</Slides>
  <Notes>3</Notes>
  <HiddenSlides>0</HiddenSlides>
  <MMClips>0</MMClips>
  <ScaleCrop>false</ScaleCrop>
  <HeadingPairs>
    <vt:vector size="8" baseType="variant">
      <vt:variant>
        <vt:lpstr>Używane czcionki</vt:lpstr>
      </vt:variant>
      <vt:variant>
        <vt:i4>2</vt:i4>
      </vt:variant>
      <vt:variant>
        <vt:lpstr>Motyw</vt:lpstr>
      </vt:variant>
      <vt:variant>
        <vt:i4>1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8</vt:i4>
      </vt:variant>
    </vt:vector>
  </HeadingPairs>
  <TitlesOfParts>
    <vt:vector size="12" baseType="lpstr">
      <vt:lpstr>Arial</vt:lpstr>
      <vt:lpstr>Calibri</vt:lpstr>
      <vt:lpstr>Motyw pakietu Office</vt:lpstr>
      <vt:lpstr>think-cell Slide</vt:lpstr>
      <vt:lpstr>Prezentacja programu PowerPoint</vt:lpstr>
      <vt:lpstr>Zachorowania i podejrzenia zachorowań na grypę wg tygodniowych meldunków w sezonie 2022/23 w grupach wiekowych (www.pzh.gov.pl)</vt:lpstr>
      <vt:lpstr>Prezentacja programu PowerPoint</vt:lpstr>
      <vt:lpstr>Prezentacja programu PowerPoint</vt:lpstr>
      <vt:lpstr>Prezentacja programu PowerPoint</vt:lpstr>
      <vt:lpstr>Szacunkowe liczby dawek szczepionek przeciw grypie sprzedanych na rynku polskim w sezonach 2017/2018 – 2022/2023  oraz poziom wyszczepialności przeciw grypie populacji polskiej</vt:lpstr>
      <vt:lpstr>Liczba wystawionych e-recept oraz wykonanych szczepień przeciw grypie w podmiotach leczniczych oraz aptekach na bazie danych Centrum e-Zdrowia</vt:lpstr>
      <vt:lpstr>Średnie poziomy zaszczepienia populacji w poszczególnych grupach wiekowych w sezonach 2011/12-2021/22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Katarzyna Wlaś</dc:creator>
  <cp:lastModifiedBy>Justyna Czubak</cp:lastModifiedBy>
  <cp:revision>882</cp:revision>
  <cp:lastPrinted>2018-01-02T15:00:40Z</cp:lastPrinted>
  <dcterms:created xsi:type="dcterms:W3CDTF">2015-01-12T08:52:16Z</dcterms:created>
  <dcterms:modified xsi:type="dcterms:W3CDTF">2023-04-25T14:56:12Z</dcterms:modified>
</cp:coreProperties>
</file>